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6.xml" ContentType="application/vnd.openxmlformats-officedocument.presentationml.tags+xml"/>
  <Override PartName="/ppt/notesSlides/notesSlide19.xml" ContentType="application/vnd.openxmlformats-officedocument.presentationml.notesSlide+xml"/>
  <Override PartName="/ppt/tags/tag17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8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19.xml" ContentType="application/vnd.openxmlformats-officedocument.presentationml.tags+xml"/>
  <Override PartName="/ppt/notesSlides/notesSlide24.xml" ContentType="application/vnd.openxmlformats-officedocument.presentationml.notesSlide+xml"/>
  <Override PartName="/ppt/tags/tag20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21.xml" ContentType="application/vnd.openxmlformats-officedocument.presentationml.tags+xml"/>
  <Override PartName="/ppt/notesSlides/notesSlide2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4"/>
  </p:notesMasterIdLst>
  <p:handoutMasterIdLst>
    <p:handoutMasterId r:id="rId35"/>
  </p:handoutMasterIdLst>
  <p:sldIdLst>
    <p:sldId id="564" r:id="rId5"/>
    <p:sldId id="266" r:id="rId6"/>
    <p:sldId id="618" r:id="rId7"/>
    <p:sldId id="612" r:id="rId8"/>
    <p:sldId id="619" r:id="rId9"/>
    <p:sldId id="595" r:id="rId10"/>
    <p:sldId id="613" r:id="rId11"/>
    <p:sldId id="620" r:id="rId12"/>
    <p:sldId id="631" r:id="rId13"/>
    <p:sldId id="630" r:id="rId14"/>
    <p:sldId id="622" r:id="rId15"/>
    <p:sldId id="621" r:id="rId16"/>
    <p:sldId id="615" r:id="rId17"/>
    <p:sldId id="624" r:id="rId18"/>
    <p:sldId id="635" r:id="rId19"/>
    <p:sldId id="634" r:id="rId20"/>
    <p:sldId id="636" r:id="rId21"/>
    <p:sldId id="625" r:id="rId22"/>
    <p:sldId id="616" r:id="rId23"/>
    <p:sldId id="626" r:id="rId24"/>
    <p:sldId id="627" r:id="rId25"/>
    <p:sldId id="617" r:id="rId26"/>
    <p:sldId id="638" r:id="rId27"/>
    <p:sldId id="637" r:id="rId28"/>
    <p:sldId id="628" r:id="rId29"/>
    <p:sldId id="633" r:id="rId30"/>
    <p:sldId id="629" r:id="rId31"/>
    <p:sldId id="521" r:id="rId32"/>
    <p:sldId id="308" r:id="rId33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5E048C3B-C860-0946-B8EB-EEA370C0C245}">
          <p14:sldIdLst>
            <p14:sldId id="564"/>
            <p14:sldId id="266"/>
            <p14:sldId id="618"/>
            <p14:sldId id="612"/>
            <p14:sldId id="619"/>
            <p14:sldId id="595"/>
            <p14:sldId id="613"/>
            <p14:sldId id="620"/>
            <p14:sldId id="631"/>
            <p14:sldId id="630"/>
            <p14:sldId id="622"/>
            <p14:sldId id="621"/>
            <p14:sldId id="615"/>
            <p14:sldId id="624"/>
            <p14:sldId id="635"/>
            <p14:sldId id="634"/>
            <p14:sldId id="636"/>
            <p14:sldId id="625"/>
            <p14:sldId id="616"/>
            <p14:sldId id="626"/>
            <p14:sldId id="627"/>
            <p14:sldId id="617"/>
            <p14:sldId id="638"/>
            <p14:sldId id="637"/>
            <p14:sldId id="628"/>
            <p14:sldId id="633"/>
            <p14:sldId id="629"/>
            <p14:sldId id="521"/>
            <p14:sldId id="3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3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46A"/>
    <a:srgbClr val="33699A"/>
    <a:srgbClr val="113F67"/>
    <a:srgbClr val="757BE6"/>
    <a:srgbClr val="E4D456"/>
    <a:srgbClr val="F15A7F"/>
    <a:srgbClr val="89EC75"/>
    <a:srgbClr val="04529C"/>
    <a:srgbClr val="3169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83004D-57D7-4FED-A144-AD6B3604A91F}" v="1011" dt="2020-01-15T17:14:32.839"/>
    <p1510:client id="{51553F83-1C0F-41DA-9215-9B87C4ECD764}" v="66" dt="2020-01-13T11:50:38.154"/>
    <p1510:client id="{55683CF2-F3C1-4A71-BB33-396774E5B4D1}" v="13" dt="2020-01-14T21:21:02.410"/>
    <p1510:client id="{66946E7E-D369-4415-BA61-A69B87E5B379}" v="516" dt="2020-01-13T12:24:26.549"/>
    <p1510:client id="{6A5C41F4-D5CE-41A0-A38B-FB8C862B36B0}" v="1621" dt="2020-01-14T21:49:14.382"/>
    <p1510:client id="{6FC6E936-F934-4CAF-9978-4FF4914385E3}" v="1" dt="2019-04-01T15:47:05.553"/>
    <p1510:client id="{8E179117-6154-4599-96E4-7D5129C381C3}" v="2" dt="2020-01-16T09:21:21.361"/>
    <p1510:client id="{BB906ADF-AB14-4CF1-A6A5-B4D24E7860C2}" v="5249" dt="2020-01-15T11:43:37.602"/>
    <p1510:client id="{CD569C9F-15FE-42A5-B0FD-87496DCACD19}" v="162" dt="2020-01-14T18:35:50.161"/>
    <p1510:client id="{D0D61802-1C80-4C80-BB77-C271B6265087}" v="2" dt="2020-01-15T09:29:41.238"/>
    <p1510:client id="{F52298E7-D596-40EA-849E-B07C5094B641}" v="228" dt="2020-01-13T12:04:14.979"/>
    <p1510:client id="{F961F51B-FEEA-49E2-A6E4-D59D932D710A}" v="667" dt="2020-01-14T18:33:26.2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82"/>
    <p:restoredTop sz="94577"/>
  </p:normalViewPr>
  <p:slideViewPr>
    <p:cSldViewPr snapToGrid="0">
      <p:cViewPr varScale="1">
        <p:scale>
          <a:sx n="116" d="100"/>
          <a:sy n="116" d="100"/>
        </p:scale>
        <p:origin x="632" y="192"/>
      </p:cViewPr>
      <p:guideLst>
        <p:guide orient="horz" pos="2160"/>
        <p:guide pos="3840"/>
        <p:guide orient="horz" pos="338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3" d="100"/>
          <a:sy n="93" d="100"/>
        </p:scale>
        <p:origin x="3784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Amores Alvarez" userId="S::damoresa@everis.com::ff5997fe-a964-45d1-b9c2-852633b5230a" providerId="AD" clId="Web-{D0D61802-1C80-4C80-BB77-C271B6265087}"/>
    <pc:docChg chg="modSld">
      <pc:chgData name="Daniel Amores Alvarez" userId="S::damoresa@everis.com::ff5997fe-a964-45d1-b9c2-852633b5230a" providerId="AD" clId="Web-{D0D61802-1C80-4C80-BB77-C271B6265087}" dt="2020-01-15T09:29:41.238" v="1" actId="20577"/>
      <pc:docMkLst>
        <pc:docMk/>
      </pc:docMkLst>
      <pc:sldChg chg="modSp">
        <pc:chgData name="Daniel Amores Alvarez" userId="S::damoresa@everis.com::ff5997fe-a964-45d1-b9c2-852633b5230a" providerId="AD" clId="Web-{D0D61802-1C80-4C80-BB77-C271B6265087}" dt="2020-01-15T09:29:41.238" v="1" actId="20577"/>
        <pc:sldMkLst>
          <pc:docMk/>
          <pc:sldMk cId="4162823876" sldId="551"/>
        </pc:sldMkLst>
        <pc:spChg chg="mod">
          <ac:chgData name="Daniel Amores Alvarez" userId="S::damoresa@everis.com::ff5997fe-a964-45d1-b9c2-852633b5230a" providerId="AD" clId="Web-{D0D61802-1C80-4C80-BB77-C271B6265087}" dt="2020-01-15T09:29:41.238" v="1" actId="20577"/>
          <ac:spMkLst>
            <pc:docMk/>
            <pc:sldMk cId="4162823876" sldId="551"/>
            <ac:spMk id="15" creationId="{7BD50C13-A712-406E-8E16-C9230DE49BA2}"/>
          </ac:spMkLst>
        </pc:spChg>
      </pc:sldChg>
    </pc:docChg>
  </pc:docChgLst>
  <pc:docChgLst>
    <pc:chgData name="Daniel Amores Alvarez" userId="S::damoresa@everis.com::ff5997fe-a964-45d1-b9c2-852633b5230a" providerId="AD" clId="Web-{51553F83-1C0F-41DA-9215-9B87C4ECD764}"/>
    <pc:docChg chg="modSld">
      <pc:chgData name="Daniel Amores Alvarez" userId="S::damoresa@everis.com::ff5997fe-a964-45d1-b9c2-852633b5230a" providerId="AD" clId="Web-{51553F83-1C0F-41DA-9215-9B87C4ECD764}" dt="2020-01-13T11:50:38.154" v="60" actId="20577"/>
      <pc:docMkLst>
        <pc:docMk/>
      </pc:docMkLst>
      <pc:sldChg chg="modSp">
        <pc:chgData name="Daniel Amores Alvarez" userId="S::damoresa@everis.com::ff5997fe-a964-45d1-b9c2-852633b5230a" providerId="AD" clId="Web-{51553F83-1C0F-41DA-9215-9B87C4ECD764}" dt="2020-01-13T11:50:38.154" v="59" actId="20577"/>
        <pc:sldMkLst>
          <pc:docMk/>
          <pc:sldMk cId="1863133937" sldId="477"/>
        </pc:sldMkLst>
        <pc:spChg chg="mod">
          <ac:chgData name="Daniel Amores Alvarez" userId="S::damoresa@everis.com::ff5997fe-a964-45d1-b9c2-852633b5230a" providerId="AD" clId="Web-{51553F83-1C0F-41DA-9215-9B87C4ECD764}" dt="2020-01-13T11:50:22.045" v="49" actId="20577"/>
          <ac:spMkLst>
            <pc:docMk/>
            <pc:sldMk cId="1863133937" sldId="477"/>
            <ac:spMk id="5" creationId="{00000000-0000-0000-0000-000000000000}"/>
          </ac:spMkLst>
        </pc:spChg>
        <pc:spChg chg="mod">
          <ac:chgData name="Daniel Amores Alvarez" userId="S::damoresa@everis.com::ff5997fe-a964-45d1-b9c2-852633b5230a" providerId="AD" clId="Web-{51553F83-1C0F-41DA-9215-9B87C4ECD764}" dt="2020-01-13T11:50:04.889" v="43" actId="20577"/>
          <ac:spMkLst>
            <pc:docMk/>
            <pc:sldMk cId="1863133937" sldId="477"/>
            <ac:spMk id="11" creationId="{00000000-0000-0000-0000-000000000000}"/>
          </ac:spMkLst>
        </pc:spChg>
        <pc:spChg chg="mod">
          <ac:chgData name="Daniel Amores Alvarez" userId="S::damoresa@everis.com::ff5997fe-a964-45d1-b9c2-852633b5230a" providerId="AD" clId="Web-{51553F83-1C0F-41DA-9215-9B87C4ECD764}" dt="2020-01-13T11:50:38.154" v="59" actId="20577"/>
          <ac:spMkLst>
            <pc:docMk/>
            <pc:sldMk cId="1863133937" sldId="477"/>
            <ac:spMk id="12" creationId="{C0FD4F4F-0130-4D9C-8FD2-DC97ED6CEC02}"/>
          </ac:spMkLst>
        </pc:spChg>
      </pc:sldChg>
    </pc:docChg>
  </pc:docChgLst>
  <pc:docChgLst>
    <pc:chgData name="Daniel Amores Alvarez" userId="S::damoresa@everis.com::ff5997fe-a964-45d1-b9c2-852633b5230a" providerId="AD" clId="Web-{F961F51B-FEEA-49E2-A6E4-D59D932D710A}"/>
    <pc:docChg chg="modSld">
      <pc:chgData name="Daniel Amores Alvarez" userId="S::damoresa@everis.com::ff5997fe-a964-45d1-b9c2-852633b5230a" providerId="AD" clId="Web-{F961F51B-FEEA-49E2-A6E4-D59D932D710A}" dt="2020-01-14T18:33:26.265" v="666" actId="20577"/>
      <pc:docMkLst>
        <pc:docMk/>
      </pc:docMkLst>
      <pc:sldChg chg="modSp">
        <pc:chgData name="Daniel Amores Alvarez" userId="S::damoresa@everis.com::ff5997fe-a964-45d1-b9c2-852633b5230a" providerId="AD" clId="Web-{F961F51B-FEEA-49E2-A6E4-D59D932D710A}" dt="2020-01-14T18:33:26.265" v="666" actId="20577"/>
        <pc:sldMkLst>
          <pc:docMk/>
          <pc:sldMk cId="616148466" sldId="531"/>
        </pc:sldMkLst>
        <pc:spChg chg="mod">
          <ac:chgData name="Daniel Amores Alvarez" userId="S::damoresa@everis.com::ff5997fe-a964-45d1-b9c2-852633b5230a" providerId="AD" clId="Web-{F961F51B-FEEA-49E2-A6E4-D59D932D710A}" dt="2020-01-14T18:33:26.265" v="666" actId="20577"/>
          <ac:spMkLst>
            <pc:docMk/>
            <pc:sldMk cId="616148466" sldId="531"/>
            <ac:spMk id="15" creationId="{7BD50C13-A712-406E-8E16-C9230DE49BA2}"/>
          </ac:spMkLst>
        </pc:spChg>
      </pc:sldChg>
    </pc:docChg>
  </pc:docChgLst>
  <pc:docChgLst>
    <pc:chgData name="Daniel Amores Alvarez" userId="S::damoresa@everis.com::ff5997fe-a964-45d1-b9c2-852633b5230a" providerId="AD" clId="Web-{CD569C9F-15FE-42A5-B0FD-87496DCACD19}"/>
    <pc:docChg chg="modSld">
      <pc:chgData name="Daniel Amores Alvarez" userId="S::damoresa@everis.com::ff5997fe-a964-45d1-b9c2-852633b5230a" providerId="AD" clId="Web-{CD569C9F-15FE-42A5-B0FD-87496DCACD19}" dt="2020-01-14T18:35:50.161" v="161" actId="20577"/>
      <pc:docMkLst>
        <pc:docMk/>
      </pc:docMkLst>
      <pc:sldChg chg="modSp">
        <pc:chgData name="Daniel Amores Alvarez" userId="S::damoresa@everis.com::ff5997fe-a964-45d1-b9c2-852633b5230a" providerId="AD" clId="Web-{CD569C9F-15FE-42A5-B0FD-87496DCACD19}" dt="2020-01-14T18:35:50.161" v="161" actId="20577"/>
        <pc:sldMkLst>
          <pc:docMk/>
          <pc:sldMk cId="616148466" sldId="531"/>
        </pc:sldMkLst>
        <pc:spChg chg="mod">
          <ac:chgData name="Daniel Amores Alvarez" userId="S::damoresa@everis.com::ff5997fe-a964-45d1-b9c2-852633b5230a" providerId="AD" clId="Web-{CD569C9F-15FE-42A5-B0FD-87496DCACD19}" dt="2020-01-14T18:35:50.161" v="161" actId="20577"/>
          <ac:spMkLst>
            <pc:docMk/>
            <pc:sldMk cId="616148466" sldId="531"/>
            <ac:spMk id="15" creationId="{7BD50C13-A712-406E-8E16-C9230DE49BA2}"/>
          </ac:spMkLst>
        </pc:spChg>
      </pc:sldChg>
    </pc:docChg>
  </pc:docChgLst>
  <pc:docChgLst>
    <pc:chgData name="Daniel Amores Alvarez" userId="S::damoresa@everis.com::ff5997fe-a964-45d1-b9c2-852633b5230a" providerId="AD" clId="Web-{8E179117-6154-4599-96E4-7D5129C381C3}"/>
    <pc:docChg chg="modSld">
      <pc:chgData name="Daniel Amores Alvarez" userId="S::damoresa@everis.com::ff5997fe-a964-45d1-b9c2-852633b5230a" providerId="AD" clId="Web-{8E179117-6154-4599-96E4-7D5129C381C3}" dt="2020-01-16T09:21:21.361" v="1" actId="20577"/>
      <pc:docMkLst>
        <pc:docMk/>
      </pc:docMkLst>
      <pc:sldChg chg="modSp">
        <pc:chgData name="Daniel Amores Alvarez" userId="S::damoresa@everis.com::ff5997fe-a964-45d1-b9c2-852633b5230a" providerId="AD" clId="Web-{8E179117-6154-4599-96E4-7D5129C381C3}" dt="2020-01-16T09:21:21.361" v="1" actId="20577"/>
        <pc:sldMkLst>
          <pc:docMk/>
          <pc:sldMk cId="1791240125" sldId="542"/>
        </pc:sldMkLst>
        <pc:spChg chg="mod">
          <ac:chgData name="Daniel Amores Alvarez" userId="S::damoresa@everis.com::ff5997fe-a964-45d1-b9c2-852633b5230a" providerId="AD" clId="Web-{8E179117-6154-4599-96E4-7D5129C381C3}" dt="2020-01-16T09:21:21.361" v="1" actId="20577"/>
          <ac:spMkLst>
            <pc:docMk/>
            <pc:sldMk cId="1791240125" sldId="542"/>
            <ac:spMk id="16" creationId="{6909A535-8C53-4A37-B3E0-FC6F7A28423E}"/>
          </ac:spMkLst>
        </pc:spChg>
      </pc:sldChg>
    </pc:docChg>
  </pc:docChgLst>
  <pc:docChgLst>
    <pc:chgData name="Daniel Amores Alvarez" userId="S::damoresa@everis.com::ff5997fe-a964-45d1-b9c2-852633b5230a" providerId="AD" clId="Web-{0D83004D-57D7-4FED-A144-AD6B3604A91F}"/>
    <pc:docChg chg="addSld modSld sldOrd modSection">
      <pc:chgData name="Daniel Amores Alvarez" userId="S::damoresa@everis.com::ff5997fe-a964-45d1-b9c2-852633b5230a" providerId="AD" clId="Web-{0D83004D-57D7-4FED-A144-AD6B3604A91F}" dt="2020-01-15T17:14:31.886" v="992" actId="20577"/>
      <pc:docMkLst>
        <pc:docMk/>
      </pc:docMkLst>
      <pc:sldChg chg="modSp">
        <pc:chgData name="Daniel Amores Alvarez" userId="S::damoresa@everis.com::ff5997fe-a964-45d1-b9c2-852633b5230a" providerId="AD" clId="Web-{0D83004D-57D7-4FED-A144-AD6B3604A91F}" dt="2020-01-15T17:14:31.886" v="992" actId="20577"/>
        <pc:sldMkLst>
          <pc:docMk/>
          <pc:sldMk cId="4162823876" sldId="551"/>
        </pc:sldMkLst>
        <pc:spChg chg="mod">
          <ac:chgData name="Daniel Amores Alvarez" userId="S::damoresa@everis.com::ff5997fe-a964-45d1-b9c2-852633b5230a" providerId="AD" clId="Web-{0D83004D-57D7-4FED-A144-AD6B3604A91F}" dt="2020-01-15T17:14:31.886" v="992" actId="20577"/>
          <ac:spMkLst>
            <pc:docMk/>
            <pc:sldMk cId="4162823876" sldId="551"/>
            <ac:spMk id="14" creationId="{DAACDC37-73F8-46F5-AA87-000E75188D38}"/>
          </ac:spMkLst>
        </pc:spChg>
      </pc:sldChg>
      <pc:sldChg chg="modSp">
        <pc:chgData name="Daniel Amores Alvarez" userId="S::damoresa@everis.com::ff5997fe-a964-45d1-b9c2-852633b5230a" providerId="AD" clId="Web-{0D83004D-57D7-4FED-A144-AD6B3604A91F}" dt="2020-01-15T17:14:22.589" v="990" actId="20577"/>
        <pc:sldMkLst>
          <pc:docMk/>
          <pc:sldMk cId="3125120265" sldId="557"/>
        </pc:sldMkLst>
        <pc:spChg chg="mod">
          <ac:chgData name="Daniel Amores Alvarez" userId="S::damoresa@everis.com::ff5997fe-a964-45d1-b9c2-852633b5230a" providerId="AD" clId="Web-{0D83004D-57D7-4FED-A144-AD6B3604A91F}" dt="2020-01-15T17:14:22.589" v="990" actId="20577"/>
          <ac:spMkLst>
            <pc:docMk/>
            <pc:sldMk cId="3125120265" sldId="557"/>
            <ac:spMk id="14" creationId="{DAACDC37-73F8-46F5-AA87-000E75188D38}"/>
          </ac:spMkLst>
        </pc:spChg>
      </pc:sldChg>
      <pc:sldChg chg="addSp delSp modSp">
        <pc:chgData name="Daniel Amores Alvarez" userId="S::damoresa@everis.com::ff5997fe-a964-45d1-b9c2-852633b5230a" providerId="AD" clId="Web-{0D83004D-57D7-4FED-A144-AD6B3604A91F}" dt="2020-01-15T17:13:42.402" v="984" actId="20577"/>
        <pc:sldMkLst>
          <pc:docMk/>
          <pc:sldMk cId="1849465173" sldId="560"/>
        </pc:sldMkLst>
        <pc:spChg chg="add mod">
          <ac:chgData name="Daniel Amores Alvarez" userId="S::damoresa@everis.com::ff5997fe-a964-45d1-b9c2-852633b5230a" providerId="AD" clId="Web-{0D83004D-57D7-4FED-A144-AD6B3604A91F}" dt="2020-01-15T17:13:42.402" v="984" actId="20577"/>
          <ac:spMkLst>
            <pc:docMk/>
            <pc:sldMk cId="1849465173" sldId="560"/>
            <ac:spMk id="3" creationId="{AE9EED95-F57B-422D-8784-B21DCAFEB00C}"/>
          </ac:spMkLst>
        </pc:spChg>
        <pc:spChg chg="mod">
          <ac:chgData name="Daniel Amores Alvarez" userId="S::damoresa@everis.com::ff5997fe-a964-45d1-b9c2-852633b5230a" providerId="AD" clId="Web-{0D83004D-57D7-4FED-A144-AD6B3604A91F}" dt="2020-01-15T17:11:44.356" v="913" actId="20577"/>
          <ac:spMkLst>
            <pc:docMk/>
            <pc:sldMk cId="1849465173" sldId="560"/>
            <ac:spMk id="15" creationId="{7BD50C13-A712-406E-8E16-C9230DE49BA2}"/>
          </ac:spMkLst>
        </pc:spChg>
        <pc:spChg chg="del">
          <ac:chgData name="Daniel Amores Alvarez" userId="S::damoresa@everis.com::ff5997fe-a964-45d1-b9c2-852633b5230a" providerId="AD" clId="Web-{0D83004D-57D7-4FED-A144-AD6B3604A91F}" dt="2020-01-15T17:01:29.908" v="566"/>
          <ac:spMkLst>
            <pc:docMk/>
            <pc:sldMk cId="1849465173" sldId="560"/>
            <ac:spMk id="17" creationId="{B28DACAC-C5B4-4FA2-9AE3-A474659D6BE1}"/>
          </ac:spMkLst>
        </pc:spChg>
        <pc:picChg chg="add del">
          <ac:chgData name="Daniel Amores Alvarez" userId="S::damoresa@everis.com::ff5997fe-a964-45d1-b9c2-852633b5230a" providerId="AD" clId="Web-{0D83004D-57D7-4FED-A144-AD6B3604A91F}" dt="2020-01-15T17:05:39.203" v="677"/>
          <ac:picMkLst>
            <pc:docMk/>
            <pc:sldMk cId="1849465173" sldId="560"/>
            <ac:picMk id="2" creationId="{7F55F897-ECF8-46CD-882C-45FF74FBAEBA}"/>
          </ac:picMkLst>
        </pc:picChg>
      </pc:sldChg>
      <pc:sldChg chg="modSp">
        <pc:chgData name="Daniel Amores Alvarez" userId="S::damoresa@everis.com::ff5997fe-a964-45d1-b9c2-852633b5230a" providerId="AD" clId="Web-{0D83004D-57D7-4FED-A144-AD6B3604A91F}" dt="2020-01-15T17:04:07.860" v="596" actId="20577"/>
        <pc:sldMkLst>
          <pc:docMk/>
          <pc:sldMk cId="3524603006" sldId="562"/>
        </pc:sldMkLst>
        <pc:spChg chg="mod">
          <ac:chgData name="Daniel Amores Alvarez" userId="S::damoresa@everis.com::ff5997fe-a964-45d1-b9c2-852633b5230a" providerId="AD" clId="Web-{0D83004D-57D7-4FED-A144-AD6B3604A91F}" dt="2020-01-15T17:03:46.657" v="581" actId="14100"/>
          <ac:spMkLst>
            <pc:docMk/>
            <pc:sldMk cId="3524603006" sldId="562"/>
            <ac:spMk id="7" creationId="{22E21FF4-5B34-4EBC-9C72-A062D754DE6E}"/>
          </ac:spMkLst>
        </pc:spChg>
        <pc:spChg chg="mod">
          <ac:chgData name="Daniel Amores Alvarez" userId="S::damoresa@everis.com::ff5997fe-a964-45d1-b9c2-852633b5230a" providerId="AD" clId="Web-{0D83004D-57D7-4FED-A144-AD6B3604A91F}" dt="2020-01-15T17:04:07.860" v="596" actId="20577"/>
          <ac:spMkLst>
            <pc:docMk/>
            <pc:sldMk cId="3524603006" sldId="562"/>
            <ac:spMk id="8" creationId="{93105E4B-6DA7-4CFA-8164-A8D48B445BA4}"/>
          </ac:spMkLst>
        </pc:spChg>
        <pc:spChg chg="mod">
          <ac:chgData name="Daniel Amores Alvarez" userId="S::damoresa@everis.com::ff5997fe-a964-45d1-b9c2-852633b5230a" providerId="AD" clId="Web-{0D83004D-57D7-4FED-A144-AD6B3604A91F}" dt="2020-01-15T17:03:44.172" v="580" actId="14100"/>
          <ac:spMkLst>
            <pc:docMk/>
            <pc:sldMk cId="3524603006" sldId="562"/>
            <ac:spMk id="9" creationId="{DC1B2ADF-5902-43F8-AB17-7A5E9D974193}"/>
          </ac:spMkLst>
        </pc:spChg>
      </pc:sldChg>
      <pc:sldChg chg="delSp modSp add ord replId">
        <pc:chgData name="Daniel Amores Alvarez" userId="S::damoresa@everis.com::ff5997fe-a964-45d1-b9c2-852633b5230a" providerId="AD" clId="Web-{0D83004D-57D7-4FED-A144-AD6B3604A91F}" dt="2020-01-15T17:01:40.282" v="569"/>
        <pc:sldMkLst>
          <pc:docMk/>
          <pc:sldMk cId="42756512" sldId="563"/>
        </pc:sldMkLst>
        <pc:spChg chg="mod">
          <ac:chgData name="Daniel Amores Alvarez" userId="S::damoresa@everis.com::ff5997fe-a964-45d1-b9c2-852633b5230a" providerId="AD" clId="Web-{0D83004D-57D7-4FED-A144-AD6B3604A91F}" dt="2020-01-15T17:01:37.095" v="568" actId="20577"/>
          <ac:spMkLst>
            <pc:docMk/>
            <pc:sldMk cId="42756512" sldId="563"/>
            <ac:spMk id="15" creationId="{7BD50C13-A712-406E-8E16-C9230DE49BA2}"/>
          </ac:spMkLst>
        </pc:spChg>
        <pc:spChg chg="del">
          <ac:chgData name="Daniel Amores Alvarez" userId="S::damoresa@everis.com::ff5997fe-a964-45d1-b9c2-852633b5230a" providerId="AD" clId="Web-{0D83004D-57D7-4FED-A144-AD6B3604A91F}" dt="2020-01-15T17:01:33.736" v="567"/>
          <ac:spMkLst>
            <pc:docMk/>
            <pc:sldMk cId="42756512" sldId="563"/>
            <ac:spMk id="17" creationId="{B28DACAC-C5B4-4FA2-9AE3-A474659D6BE1}"/>
          </ac:spMkLst>
        </pc:spChg>
      </pc:sldChg>
    </pc:docChg>
  </pc:docChgLst>
  <pc:docChgLst>
    <pc:chgData name="Daniel Amores Alvarez" userId="S::damoresa@everis.com::ff5997fe-a964-45d1-b9c2-852633b5230a" providerId="AD" clId="Web-{6A5C41F4-D5CE-41A0-A38B-FB8C862B36B0}"/>
    <pc:docChg chg="addSld modSld modSection">
      <pc:chgData name="Daniel Amores Alvarez" userId="S::damoresa@everis.com::ff5997fe-a964-45d1-b9c2-852633b5230a" providerId="AD" clId="Web-{6A5C41F4-D5CE-41A0-A38B-FB8C862B36B0}" dt="2020-01-14T21:49:13.632" v="1604" actId="20577"/>
      <pc:docMkLst>
        <pc:docMk/>
      </pc:docMkLst>
      <pc:sldChg chg="modSp">
        <pc:chgData name="Daniel Amores Alvarez" userId="S::damoresa@everis.com::ff5997fe-a964-45d1-b9c2-852633b5230a" providerId="AD" clId="Web-{6A5C41F4-D5CE-41A0-A38B-FB8C862B36B0}" dt="2020-01-14T21:48:54.226" v="1549" actId="20577"/>
        <pc:sldMkLst>
          <pc:docMk/>
          <pc:sldMk cId="924214621" sldId="266"/>
        </pc:sldMkLst>
        <pc:spChg chg="mod">
          <ac:chgData name="Daniel Amores Alvarez" userId="S::damoresa@everis.com::ff5997fe-a964-45d1-b9c2-852633b5230a" providerId="AD" clId="Web-{6A5C41F4-D5CE-41A0-A38B-FB8C862B36B0}" dt="2020-01-14T21:48:54.226" v="1549" actId="20577"/>
          <ac:spMkLst>
            <pc:docMk/>
            <pc:sldMk cId="924214621" sldId="266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36:14.934" v="910" actId="20577"/>
        <pc:sldMkLst>
          <pc:docMk/>
          <pc:sldMk cId="1791240125" sldId="542"/>
        </pc:sldMkLst>
        <pc:spChg chg="mod">
          <ac:chgData name="Daniel Amores Alvarez" userId="S::damoresa@everis.com::ff5997fe-a964-45d1-b9c2-852633b5230a" providerId="AD" clId="Web-{6A5C41F4-D5CE-41A0-A38B-FB8C862B36B0}" dt="2020-01-14T21:36:14.934" v="910" actId="20577"/>
          <ac:spMkLst>
            <pc:docMk/>
            <pc:sldMk cId="1791240125" sldId="542"/>
            <ac:spMk id="16" creationId="{6909A535-8C53-4A37-B3E0-FC6F7A28423E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37:28.027" v="1017" actId="20577"/>
        <pc:sldMkLst>
          <pc:docMk/>
          <pc:sldMk cId="2086390204" sldId="543"/>
        </pc:sldMkLst>
        <pc:spChg chg="mod">
          <ac:chgData name="Daniel Amores Alvarez" userId="S::damoresa@everis.com::ff5997fe-a964-45d1-b9c2-852633b5230a" providerId="AD" clId="Web-{6A5C41F4-D5CE-41A0-A38B-FB8C862B36B0}" dt="2020-01-14T21:37:28.027" v="1017" actId="20577"/>
          <ac:spMkLst>
            <pc:docMk/>
            <pc:sldMk cId="2086390204" sldId="543"/>
            <ac:spMk id="15" creationId="{7BD50C13-A712-406E-8E16-C9230DE49BA2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8:48.820" v="1543" actId="20577"/>
        <pc:sldMkLst>
          <pc:docMk/>
          <pc:sldMk cId="1819518269" sldId="544"/>
        </pc:sldMkLst>
        <pc:spChg chg="mod">
          <ac:chgData name="Daniel Amores Alvarez" userId="S::damoresa@everis.com::ff5997fe-a964-45d1-b9c2-852633b5230a" providerId="AD" clId="Web-{6A5C41F4-D5CE-41A0-A38B-FB8C862B36B0}" dt="2020-01-14T21:48:48.820" v="1543" actId="20577"/>
          <ac:spMkLst>
            <pc:docMk/>
            <pc:sldMk cId="1819518269" sldId="544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5:50.632" v="1352" actId="20577"/>
        <pc:sldMkLst>
          <pc:docMk/>
          <pc:sldMk cId="2508201071" sldId="545"/>
        </pc:sldMkLst>
        <pc:spChg chg="mod">
          <ac:chgData name="Daniel Amores Alvarez" userId="S::damoresa@everis.com::ff5997fe-a964-45d1-b9c2-852633b5230a" providerId="AD" clId="Web-{6A5C41F4-D5CE-41A0-A38B-FB8C862B36B0}" dt="2020-01-14T21:45:50.632" v="1352" actId="20577"/>
          <ac:spMkLst>
            <pc:docMk/>
            <pc:sldMk cId="2508201071" sldId="545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9:13.632" v="1603" actId="20577"/>
        <pc:sldMkLst>
          <pc:docMk/>
          <pc:sldMk cId="588513800" sldId="546"/>
        </pc:sldMkLst>
        <pc:spChg chg="mod">
          <ac:chgData name="Daniel Amores Alvarez" userId="S::damoresa@everis.com::ff5997fe-a964-45d1-b9c2-852633b5230a" providerId="AD" clId="Web-{6A5C41F4-D5CE-41A0-A38B-FB8C862B36B0}" dt="2020-01-14T21:49:13.632" v="1603" actId="20577"/>
          <ac:spMkLst>
            <pc:docMk/>
            <pc:sldMk cId="588513800" sldId="546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9:01.289" v="1573" actId="20577"/>
        <pc:sldMkLst>
          <pc:docMk/>
          <pc:sldMk cId="4278879172" sldId="547"/>
        </pc:sldMkLst>
        <pc:spChg chg="mod">
          <ac:chgData name="Daniel Amores Alvarez" userId="S::damoresa@everis.com::ff5997fe-a964-45d1-b9c2-852633b5230a" providerId="AD" clId="Web-{6A5C41F4-D5CE-41A0-A38B-FB8C862B36B0}" dt="2020-01-14T21:49:01.289" v="1573" actId="20577"/>
          <ac:spMkLst>
            <pc:docMk/>
            <pc:sldMk cId="4278879172" sldId="547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9:08.148" v="1579" actId="20577"/>
        <pc:sldMkLst>
          <pc:docMk/>
          <pc:sldMk cId="3976969057" sldId="549"/>
        </pc:sldMkLst>
        <pc:spChg chg="mod">
          <ac:chgData name="Daniel Amores Alvarez" userId="S::damoresa@everis.com::ff5997fe-a964-45d1-b9c2-852633b5230a" providerId="AD" clId="Web-{6A5C41F4-D5CE-41A0-A38B-FB8C862B36B0}" dt="2020-01-14T21:49:08.148" v="1579" actId="20577"/>
          <ac:spMkLst>
            <pc:docMk/>
            <pc:sldMk cId="3976969057" sldId="549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6:02.273" v="1413" actId="20577"/>
        <pc:sldMkLst>
          <pc:docMk/>
          <pc:sldMk cId="60774363" sldId="550"/>
        </pc:sldMkLst>
        <pc:spChg chg="mod">
          <ac:chgData name="Daniel Amores Alvarez" userId="S::damoresa@everis.com::ff5997fe-a964-45d1-b9c2-852633b5230a" providerId="AD" clId="Web-{6A5C41F4-D5CE-41A0-A38B-FB8C862B36B0}" dt="2020-01-14T21:46:02.273" v="1413" actId="20577"/>
          <ac:spMkLst>
            <pc:docMk/>
            <pc:sldMk cId="60774363" sldId="550"/>
            <ac:spMk id="46" creationId="{00000000-0000-0000-0000-000000000000}"/>
          </ac:spMkLst>
        </pc:spChg>
      </pc:sldChg>
      <pc:sldChg chg="addSp modSp">
        <pc:chgData name="Daniel Amores Alvarez" userId="S::damoresa@everis.com::ff5997fe-a964-45d1-b9c2-852633b5230a" providerId="AD" clId="Web-{6A5C41F4-D5CE-41A0-A38B-FB8C862B36B0}" dt="2020-01-14T21:48:36.367" v="1535" actId="20577"/>
        <pc:sldMkLst>
          <pc:docMk/>
          <pc:sldMk cId="4162823876" sldId="551"/>
        </pc:sldMkLst>
        <pc:spChg chg="add mod">
          <ac:chgData name="Daniel Amores Alvarez" userId="S::damoresa@everis.com::ff5997fe-a964-45d1-b9c2-852633b5230a" providerId="AD" clId="Web-{6A5C41F4-D5CE-41A0-A38B-FB8C862B36B0}" dt="2020-01-14T21:48:36.367" v="1535" actId="20577"/>
          <ac:spMkLst>
            <pc:docMk/>
            <pc:sldMk cId="4162823876" sldId="551"/>
            <ac:spMk id="2" creationId="{8624B431-4101-47F0-BB89-3368E781A537}"/>
          </ac:spMkLst>
        </pc:spChg>
        <pc:spChg chg="mod">
          <ac:chgData name="Daniel Amores Alvarez" userId="S::damoresa@everis.com::ff5997fe-a964-45d1-b9c2-852633b5230a" providerId="AD" clId="Web-{6A5C41F4-D5CE-41A0-A38B-FB8C862B36B0}" dt="2020-01-14T21:48:32.711" v="1532" actId="20577"/>
          <ac:spMkLst>
            <pc:docMk/>
            <pc:sldMk cId="4162823876" sldId="551"/>
            <ac:spMk id="15" creationId="{7BD50C13-A712-406E-8E16-C9230DE49BA2}"/>
          </ac:spMkLst>
        </pc:spChg>
        <pc:spChg chg="mod">
          <ac:chgData name="Daniel Amores Alvarez" userId="S::damoresa@everis.com::ff5997fe-a964-45d1-b9c2-852633b5230a" providerId="AD" clId="Web-{6A5C41F4-D5CE-41A0-A38B-FB8C862B36B0}" dt="2020-01-14T21:45:53.960" v="1380" actId="20577"/>
          <ac:spMkLst>
            <pc:docMk/>
            <pc:sldMk cId="4162823876" sldId="551"/>
            <ac:spMk id="46" creationId="{00000000-0000-0000-0000-000000000000}"/>
          </ac:spMkLst>
        </pc:spChg>
      </pc:sldChg>
      <pc:sldChg chg="add replId">
        <pc:chgData name="Daniel Amores Alvarez" userId="S::damoresa@everis.com::ff5997fe-a964-45d1-b9c2-852633b5230a" providerId="AD" clId="Web-{6A5C41F4-D5CE-41A0-A38B-FB8C862B36B0}" dt="2020-01-14T21:48:09.147" v="1499"/>
        <pc:sldMkLst>
          <pc:docMk/>
          <pc:sldMk cId="2728398026" sldId="556"/>
        </pc:sldMkLst>
      </pc:sldChg>
    </pc:docChg>
  </pc:docChgLst>
  <pc:docChgLst>
    <pc:chgData name="Daniel Amores Alvarez" userId="S::damoresa@everis.com::ff5997fe-a964-45d1-b9c2-852633b5230a" providerId="AD" clId="Web-{55683CF2-F3C1-4A71-BB33-396774E5B4D1}"/>
    <pc:docChg chg="modSld">
      <pc:chgData name="Daniel Amores Alvarez" userId="S::damoresa@everis.com::ff5997fe-a964-45d1-b9c2-852633b5230a" providerId="AD" clId="Web-{55683CF2-F3C1-4A71-BB33-396774E5B4D1}" dt="2020-01-14T21:21:02.410" v="12" actId="20577"/>
      <pc:docMkLst>
        <pc:docMk/>
      </pc:docMkLst>
      <pc:sldChg chg="modSp">
        <pc:chgData name="Daniel Amores Alvarez" userId="S::damoresa@everis.com::ff5997fe-a964-45d1-b9c2-852633b5230a" providerId="AD" clId="Web-{55683CF2-F3C1-4A71-BB33-396774E5B4D1}" dt="2020-01-14T21:21:02.410" v="12" actId="20577"/>
        <pc:sldMkLst>
          <pc:docMk/>
          <pc:sldMk cId="2086390204" sldId="543"/>
        </pc:sldMkLst>
        <pc:spChg chg="mod">
          <ac:chgData name="Daniel Amores Alvarez" userId="S::damoresa@everis.com::ff5997fe-a964-45d1-b9c2-852633b5230a" providerId="AD" clId="Web-{55683CF2-F3C1-4A71-BB33-396774E5B4D1}" dt="2020-01-14T21:21:02.410" v="12" actId="20577"/>
          <ac:spMkLst>
            <pc:docMk/>
            <pc:sldMk cId="2086390204" sldId="543"/>
            <ac:spMk id="15" creationId="{7BD50C13-A712-406E-8E16-C9230DE49BA2}"/>
          </ac:spMkLst>
        </pc:spChg>
      </pc:sldChg>
    </pc:docChg>
  </pc:docChgLst>
  <pc:docChgLst>
    <pc:chgData name="Jordi Gil Nieto" userId="dc92af6d-8bfc-4cf9-a920-242e8fde7056" providerId="ADAL" clId="{6FC6E936-F934-4CAF-9978-4FF4914385E3}"/>
    <pc:docChg chg="undo redo custSel addSld delSld modSld sldOrd modSection">
      <pc:chgData name="Jordi Gil Nieto" userId="dc92af6d-8bfc-4cf9-a920-242e8fde7056" providerId="ADAL" clId="{6FC6E936-F934-4CAF-9978-4FF4914385E3}" dt="2019-05-14T20:13:59.391" v="4186" actId="313"/>
      <pc:docMkLst>
        <pc:docMk/>
      </pc:docMkLst>
      <pc:sldChg chg="modSp">
        <pc:chgData name="Jordi Gil Nieto" userId="dc92af6d-8bfc-4cf9-a920-242e8fde7056" providerId="ADAL" clId="{6FC6E936-F934-4CAF-9978-4FF4914385E3}" dt="2019-04-04T10:31:27.642" v="4159" actId="20577"/>
        <pc:sldMkLst>
          <pc:docMk/>
          <pc:sldMk cId="924214621" sldId="266"/>
        </pc:sldMkLst>
        <pc:spChg chg="mod">
          <ac:chgData name="Jordi Gil Nieto" userId="dc92af6d-8bfc-4cf9-a920-242e8fde7056" providerId="ADAL" clId="{6FC6E936-F934-4CAF-9978-4FF4914385E3}" dt="2019-04-04T10:31:27.642" v="4159" actId="20577"/>
          <ac:spMkLst>
            <pc:docMk/>
            <pc:sldMk cId="924214621" sldId="266"/>
            <ac:spMk id="46" creationId="{00000000-0000-0000-0000-000000000000}"/>
          </ac:spMkLst>
        </pc:spChg>
      </pc:sldChg>
      <pc:sldChg chg="addSp delSp modSp">
        <pc:chgData name="Jordi Gil Nieto" userId="dc92af6d-8bfc-4cf9-a920-242e8fde7056" providerId="ADAL" clId="{6FC6E936-F934-4CAF-9978-4FF4914385E3}" dt="2019-04-01T16:03:10.022" v="215" actId="14100"/>
        <pc:sldMkLst>
          <pc:docMk/>
          <pc:sldMk cId="1863133937" sldId="477"/>
        </pc:sldMkLst>
        <pc:spChg chg="add del">
          <ac:chgData name="Jordi Gil Nieto" userId="dc92af6d-8bfc-4cf9-a920-242e8fde7056" providerId="ADAL" clId="{6FC6E936-F934-4CAF-9978-4FF4914385E3}" dt="2019-04-01T15:50:39.189" v="79"/>
          <ac:spMkLst>
            <pc:docMk/>
            <pc:sldMk cId="1863133937" sldId="477"/>
            <ac:spMk id="2" creationId="{A95A7D2D-5DA1-4AD9-A176-41888A6E0AEE}"/>
          </ac:spMkLst>
        </pc:spChg>
        <pc:spChg chg="mod">
          <ac:chgData name="Jordi Gil Nieto" userId="dc92af6d-8bfc-4cf9-a920-242e8fde7056" providerId="ADAL" clId="{6FC6E936-F934-4CAF-9978-4FF4914385E3}" dt="2019-04-01T15:46:30.643" v="30" actId="403"/>
          <ac:spMkLst>
            <pc:docMk/>
            <pc:sldMk cId="1863133937" sldId="477"/>
            <ac:spMk id="5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1T15:48:08.959" v="75" actId="20577"/>
          <ac:spMkLst>
            <pc:docMk/>
            <pc:sldMk cId="1863133937" sldId="477"/>
            <ac:spMk id="11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1T15:47:28.839" v="66" actId="1036"/>
          <ac:spMkLst>
            <pc:docMk/>
            <pc:sldMk cId="1863133937" sldId="477"/>
            <ac:spMk id="12" creationId="{C0FD4F4F-0130-4D9C-8FD2-DC97ED6CEC02}"/>
          </ac:spMkLst>
        </pc:spChg>
        <pc:spChg chg="mod ord">
          <ac:chgData name="Jordi Gil Nieto" userId="dc92af6d-8bfc-4cf9-a920-242e8fde7056" providerId="ADAL" clId="{6FC6E936-F934-4CAF-9978-4FF4914385E3}" dt="2019-04-01T15:53:54.102" v="95" actId="14100"/>
          <ac:spMkLst>
            <pc:docMk/>
            <pc:sldMk cId="1863133937" sldId="477"/>
            <ac:spMk id="34" creationId="{00000000-0000-0000-0000-000000000000}"/>
          </ac:spMkLst>
        </pc:spChg>
        <pc:picChg chg="ord">
          <ac:chgData name="Jordi Gil Nieto" userId="dc92af6d-8bfc-4cf9-a920-242e8fde7056" providerId="ADAL" clId="{6FC6E936-F934-4CAF-9978-4FF4914385E3}" dt="2019-04-01T15:53:58.635" v="96" actId="166"/>
          <ac:picMkLst>
            <pc:docMk/>
            <pc:sldMk cId="1863133937" sldId="477"/>
            <ac:picMk id="18" creationId="{00000000-0000-0000-0000-000000000000}"/>
          </ac:picMkLst>
        </pc:picChg>
        <pc:picChg chg="del">
          <ac:chgData name="Jordi Gil Nieto" userId="dc92af6d-8bfc-4cf9-a920-242e8fde7056" providerId="ADAL" clId="{6FC6E936-F934-4CAF-9978-4FF4914385E3}" dt="2019-04-01T15:50:37.576" v="77" actId="478"/>
          <ac:picMkLst>
            <pc:docMk/>
            <pc:sldMk cId="1863133937" sldId="477"/>
            <ac:picMk id="19" creationId="{00000000-0000-0000-0000-000000000000}"/>
          </ac:picMkLst>
        </pc:picChg>
        <pc:picChg chg="add del mod">
          <ac:chgData name="Jordi Gil Nieto" userId="dc92af6d-8bfc-4cf9-a920-242e8fde7056" providerId="ADAL" clId="{6FC6E936-F934-4CAF-9978-4FF4914385E3}" dt="2019-04-01T15:52:10.478" v="88" actId="478"/>
          <ac:picMkLst>
            <pc:docMk/>
            <pc:sldMk cId="1863133937" sldId="477"/>
            <ac:picMk id="167938" creationId="{7311582A-0C44-4DBC-A339-BE8B75F2BE07}"/>
          </ac:picMkLst>
        </pc:picChg>
        <pc:picChg chg="add mod">
          <ac:chgData name="Jordi Gil Nieto" userId="dc92af6d-8bfc-4cf9-a920-242e8fde7056" providerId="ADAL" clId="{6FC6E936-F934-4CAF-9978-4FF4914385E3}" dt="2019-04-01T16:03:10.022" v="215" actId="14100"/>
          <ac:picMkLst>
            <pc:docMk/>
            <pc:sldMk cId="1863133937" sldId="477"/>
            <ac:picMk id="167940" creationId="{628D59FA-6D57-409B-A299-ECE5E00D026D}"/>
          </ac:picMkLst>
        </pc:picChg>
      </pc:sldChg>
      <pc:sldChg chg="addSp delSp modSp add del modNotesTx">
        <pc:chgData name="Jordi Gil Nieto" userId="dc92af6d-8bfc-4cf9-a920-242e8fde7056" providerId="ADAL" clId="{6FC6E936-F934-4CAF-9978-4FF4914385E3}" dt="2019-04-04T07:45:10.966" v="2878" actId="14100"/>
        <pc:sldMkLst>
          <pc:docMk/>
          <pc:sldMk cId="1842254415" sldId="479"/>
        </pc:sldMkLst>
        <pc:spChg chg="del">
          <ac:chgData name="Jordi Gil Nieto" userId="dc92af6d-8bfc-4cf9-a920-242e8fde7056" providerId="ADAL" clId="{6FC6E936-F934-4CAF-9978-4FF4914385E3}" dt="2019-04-01T16:11:11.255" v="247" actId="478"/>
          <ac:spMkLst>
            <pc:docMk/>
            <pc:sldMk cId="1842254415" sldId="479"/>
            <ac:spMk id="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5" creationId="{00000000-0000-0000-0000-000000000000}"/>
          </ac:spMkLst>
        </pc:spChg>
        <pc:spChg chg="del mod">
          <ac:chgData name="Jordi Gil Nieto" userId="dc92af6d-8bfc-4cf9-a920-242e8fde7056" providerId="ADAL" clId="{6FC6E936-F934-4CAF-9978-4FF4914385E3}" dt="2019-04-01T16:11:05.848" v="245" actId="478"/>
          <ac:spMkLst>
            <pc:docMk/>
            <pc:sldMk cId="1842254415" sldId="479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07:45:08.542" v="2877" actId="14100"/>
          <ac:spMkLst>
            <pc:docMk/>
            <pc:sldMk cId="1842254415" sldId="479"/>
            <ac:spMk id="14" creationId="{CB0A08ED-C39A-4C5D-AF67-3044D0597F0B}"/>
          </ac:spMkLst>
        </pc:spChg>
        <pc:spChg chg="del">
          <ac:chgData name="Jordi Gil Nieto" userId="dc92af6d-8bfc-4cf9-a920-242e8fde7056" providerId="ADAL" clId="{6FC6E936-F934-4CAF-9978-4FF4914385E3}" dt="2019-04-01T16:11:11.255" v="247" actId="478"/>
          <ac:spMkLst>
            <pc:docMk/>
            <pc:sldMk cId="1842254415" sldId="479"/>
            <ac:spMk id="15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07:45:10.966" v="2878" actId="14100"/>
          <ac:spMkLst>
            <pc:docMk/>
            <pc:sldMk cId="1842254415" sldId="479"/>
            <ac:spMk id="15" creationId="{A1C9E2B1-E5FD-4A82-AFA4-2661CE1058B7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1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17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18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0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1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7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8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9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0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1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5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7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1T16:10:56.592" v="242" actId="20577"/>
          <ac:spMkLst>
            <pc:docMk/>
            <pc:sldMk cId="1842254415" sldId="479"/>
            <ac:spMk id="46" creationId="{00000000-0000-0000-0000-000000000000}"/>
          </ac:spMkLst>
        </pc:spChg>
        <pc:spChg chg="add del">
          <ac:chgData name="Jordi Gil Nieto" userId="dc92af6d-8bfc-4cf9-a920-242e8fde7056" providerId="ADAL" clId="{6FC6E936-F934-4CAF-9978-4FF4914385E3}" dt="2019-04-01T16:11:00.568" v="243" actId="478"/>
          <ac:spMkLst>
            <pc:docMk/>
            <pc:sldMk cId="1842254415" sldId="479"/>
            <ac:spMk id="47" creationId="{00000000-0000-0000-0000-000000000000}"/>
          </ac:spMkLst>
        </pc:spChg>
        <pc:picChg chg="add mod">
          <ac:chgData name="Jordi Gil Nieto" userId="dc92af6d-8bfc-4cf9-a920-242e8fde7056" providerId="ADAL" clId="{6FC6E936-F934-4CAF-9978-4FF4914385E3}" dt="2019-04-04T07:32:51.321" v="2503" actId="1076"/>
          <ac:picMkLst>
            <pc:docMk/>
            <pc:sldMk cId="1842254415" sldId="479"/>
            <ac:picMk id="50" creationId="{7C7095C4-E528-4401-9A35-152B5045531C}"/>
          </ac:picMkLst>
        </pc:picChg>
        <pc:cxnChg chg="del">
          <ac:chgData name="Jordi Gil Nieto" userId="dc92af6d-8bfc-4cf9-a920-242e8fde7056" providerId="ADAL" clId="{6FC6E936-F934-4CAF-9978-4FF4914385E3}" dt="2019-04-01T16:11:08.377" v="246" actId="478"/>
          <ac:cxnSpMkLst>
            <pc:docMk/>
            <pc:sldMk cId="1842254415" sldId="479"/>
            <ac:cxnSpMk id="8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11:08.377" v="246" actId="478"/>
          <ac:cxnSpMkLst>
            <pc:docMk/>
            <pc:sldMk cId="1842254415" sldId="479"/>
            <ac:cxnSpMk id="41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11:08.377" v="246" actId="478"/>
          <ac:cxnSpMkLst>
            <pc:docMk/>
            <pc:sldMk cId="1842254415" sldId="479"/>
            <ac:cxnSpMk id="42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11:08.377" v="246" actId="478"/>
          <ac:cxnSpMkLst>
            <pc:docMk/>
            <pc:sldMk cId="1842254415" sldId="479"/>
            <ac:cxnSpMk id="49" creationId="{00000000-0000-0000-0000-000000000000}"/>
          </ac:cxnSpMkLst>
        </pc:cxnChg>
      </pc:sldChg>
      <pc:sldChg chg="addSp delSp modSp add ord modNotesTx">
        <pc:chgData name="Jordi Gil Nieto" userId="dc92af6d-8bfc-4cf9-a920-242e8fde7056" providerId="ADAL" clId="{6FC6E936-F934-4CAF-9978-4FF4914385E3}" dt="2019-04-04T10:12:44.654" v="3555" actId="6549"/>
        <pc:sldMkLst>
          <pc:docMk/>
          <pc:sldMk cId="1538420332" sldId="523"/>
        </pc:sldMkLst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5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4T10:12:44.654" v="3555" actId="6549"/>
          <ac:spMkLst>
            <pc:docMk/>
            <pc:sldMk cId="1538420332" sldId="523"/>
            <ac:spMk id="1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15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10:29.112" v="3550" actId="1037"/>
          <ac:spMkLst>
            <pc:docMk/>
            <pc:sldMk cId="1538420332" sldId="523"/>
            <ac:spMk id="15" creationId="{429F197A-0B1D-4920-A1B8-27689A181D6B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1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17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18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0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1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7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8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9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0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1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5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7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1T16:23:24.784" v="262" actId="20577"/>
          <ac:spMkLst>
            <pc:docMk/>
            <pc:sldMk cId="1538420332" sldId="523"/>
            <ac:spMk id="46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1T16:23:43.425" v="266" actId="20577"/>
          <ac:spMkLst>
            <pc:docMk/>
            <pc:sldMk cId="1538420332" sldId="523"/>
            <ac:spMk id="47" creationId="{00000000-0000-0000-0000-000000000000}"/>
          </ac:spMkLst>
        </pc:spChg>
        <pc:picChg chg="add mod">
          <ac:chgData name="Jordi Gil Nieto" userId="dc92af6d-8bfc-4cf9-a920-242e8fde7056" providerId="ADAL" clId="{6FC6E936-F934-4CAF-9978-4FF4914385E3}" dt="2019-04-01T16:24:08.781" v="344" actId="14100"/>
          <ac:picMkLst>
            <pc:docMk/>
            <pc:sldMk cId="1538420332" sldId="523"/>
            <ac:picMk id="50" creationId="{7CA49931-9674-4450-8D00-638F7CF501AB}"/>
          </ac:picMkLst>
        </pc:picChg>
        <pc:picChg chg="add mod">
          <ac:chgData name="Jordi Gil Nieto" userId="dc92af6d-8bfc-4cf9-a920-242e8fde7056" providerId="ADAL" clId="{6FC6E936-F934-4CAF-9978-4FF4914385E3}" dt="2019-04-04T10:11:30.371" v="3553" actId="1076"/>
          <ac:picMkLst>
            <pc:docMk/>
            <pc:sldMk cId="1538420332" sldId="523"/>
            <ac:picMk id="10246" creationId="{A7A28465-34C0-4930-A314-84824DD7F490}"/>
          </ac:picMkLst>
        </pc:picChg>
        <pc:cxnChg chg="del">
          <ac:chgData name="Jordi Gil Nieto" userId="dc92af6d-8bfc-4cf9-a920-242e8fde7056" providerId="ADAL" clId="{6FC6E936-F934-4CAF-9978-4FF4914385E3}" dt="2019-04-01T16:23:47.864" v="267" actId="478"/>
          <ac:cxnSpMkLst>
            <pc:docMk/>
            <pc:sldMk cId="1538420332" sldId="523"/>
            <ac:cxnSpMk id="8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23:47.864" v="267" actId="478"/>
          <ac:cxnSpMkLst>
            <pc:docMk/>
            <pc:sldMk cId="1538420332" sldId="523"/>
            <ac:cxnSpMk id="41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23:47.864" v="267" actId="478"/>
          <ac:cxnSpMkLst>
            <pc:docMk/>
            <pc:sldMk cId="1538420332" sldId="523"/>
            <ac:cxnSpMk id="42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23:47.864" v="267" actId="478"/>
          <ac:cxnSpMkLst>
            <pc:docMk/>
            <pc:sldMk cId="1538420332" sldId="523"/>
            <ac:cxnSpMk id="49" creationId="{00000000-0000-0000-0000-000000000000}"/>
          </ac:cxnSpMkLst>
        </pc:cxnChg>
      </pc:sldChg>
      <pc:sldChg chg="addSp delSp modSp add modNotesTx">
        <pc:chgData name="Jordi Gil Nieto" userId="dc92af6d-8bfc-4cf9-a920-242e8fde7056" providerId="ADAL" clId="{6FC6E936-F934-4CAF-9978-4FF4914385E3}" dt="2019-04-04T10:15:07.505" v="3557" actId="478"/>
        <pc:sldMkLst>
          <pc:docMk/>
          <pc:sldMk cId="2825012662" sldId="524"/>
        </pc:sldMkLst>
        <pc:spChg chg="add mod">
          <ac:chgData name="Jordi Gil Nieto" userId="dc92af6d-8bfc-4cf9-a920-242e8fde7056" providerId="ADAL" clId="{6FC6E936-F934-4CAF-9978-4FF4914385E3}" dt="2019-04-04T10:08:58.570" v="3493" actId="692"/>
          <ac:spMkLst>
            <pc:docMk/>
            <pc:sldMk cId="2825012662" sldId="524"/>
            <ac:spMk id="2" creationId="{93037DD5-102E-4D32-9439-91DA2FEDD037}"/>
          </ac:spMkLst>
        </pc:spChg>
        <pc:spChg chg="mod">
          <ac:chgData name="Jordi Gil Nieto" userId="dc92af6d-8bfc-4cf9-a920-242e8fde7056" providerId="ADAL" clId="{6FC6E936-F934-4CAF-9978-4FF4914385E3}" dt="2019-04-04T08:15:48.597" v="3317" actId="20577"/>
          <ac:spMkLst>
            <pc:docMk/>
            <pc:sldMk cId="2825012662" sldId="524"/>
            <ac:spMk id="14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2T09:44:48.130" v="371" actId="20577"/>
          <ac:spMkLst>
            <pc:docMk/>
            <pc:sldMk cId="2825012662" sldId="524"/>
            <ac:spMk id="47" creationId="{00000000-0000-0000-0000-000000000000}"/>
          </ac:spMkLst>
        </pc:spChg>
        <pc:picChg chg="add del mod ord">
          <ac:chgData name="Jordi Gil Nieto" userId="dc92af6d-8bfc-4cf9-a920-242e8fde7056" providerId="ADAL" clId="{6FC6E936-F934-4CAF-9978-4FF4914385E3}" dt="2019-04-04T10:15:07.505" v="3557" actId="478"/>
          <ac:picMkLst>
            <pc:docMk/>
            <pc:sldMk cId="2825012662" sldId="524"/>
            <ac:picMk id="4" creationId="{5914F587-D02F-4BC8-8089-F9A44428A221}"/>
          </ac:picMkLst>
        </pc:picChg>
      </pc:sldChg>
      <pc:sldChg chg="addSp delSp modSp add modNotesTx">
        <pc:chgData name="Jordi Gil Nieto" userId="dc92af6d-8bfc-4cf9-a920-242e8fde7056" providerId="ADAL" clId="{6FC6E936-F934-4CAF-9978-4FF4914385E3}" dt="2019-04-04T10:27:49.854" v="4010" actId="1036"/>
        <pc:sldMkLst>
          <pc:docMk/>
          <pc:sldMk cId="2976379869" sldId="525"/>
        </pc:sldMkLst>
        <pc:spChg chg="add del">
          <ac:chgData name="Jordi Gil Nieto" userId="dc92af6d-8bfc-4cf9-a920-242e8fde7056" providerId="ADAL" clId="{6FC6E936-F934-4CAF-9978-4FF4914385E3}" dt="2019-04-02T09:47:33.726" v="390"/>
          <ac:spMkLst>
            <pc:docMk/>
            <pc:sldMk cId="2976379869" sldId="525"/>
            <ac:spMk id="2" creationId="{C2308E6A-91CA-41A0-BF2B-DDBB91AD872A}"/>
          </ac:spMkLst>
        </pc:spChg>
        <pc:spChg chg="mod">
          <ac:chgData name="Jordi Gil Nieto" userId="dc92af6d-8bfc-4cf9-a920-242e8fde7056" providerId="ADAL" clId="{6FC6E936-F934-4CAF-9978-4FF4914385E3}" dt="2019-04-04T08:17:45.569" v="3328" actId="6549"/>
          <ac:spMkLst>
            <pc:docMk/>
            <pc:sldMk cId="2976379869" sldId="525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27:49.854" v="4010" actId="1036"/>
          <ac:spMkLst>
            <pc:docMk/>
            <pc:sldMk cId="2976379869" sldId="525"/>
            <ac:spMk id="15" creationId="{2F3C221B-6E34-49DF-9C1F-D3AB16887844}"/>
          </ac:spMkLst>
        </pc:spChg>
        <pc:spChg chg="mod">
          <ac:chgData name="Jordi Gil Nieto" userId="dc92af6d-8bfc-4cf9-a920-242e8fde7056" providerId="ADAL" clId="{6FC6E936-F934-4CAF-9978-4FF4914385E3}" dt="2019-04-02T09:46:12.538" v="383" actId="20577"/>
          <ac:spMkLst>
            <pc:docMk/>
            <pc:sldMk cId="2976379869" sldId="525"/>
            <ac:spMk id="47" creationId="{00000000-0000-0000-0000-000000000000}"/>
          </ac:spMkLst>
        </pc:spChg>
      </pc:sldChg>
      <pc:sldChg chg="addSp delSp modSp add ord modNotesTx">
        <pc:chgData name="Jordi Gil Nieto" userId="dc92af6d-8bfc-4cf9-a920-242e8fde7056" providerId="ADAL" clId="{6FC6E936-F934-4CAF-9978-4FF4914385E3}" dt="2019-04-04T10:25:14.991" v="3897" actId="2711"/>
        <pc:sldMkLst>
          <pc:docMk/>
          <pc:sldMk cId="1619765855" sldId="526"/>
        </pc:sldMkLst>
        <pc:spChg chg="add del mod">
          <ac:chgData name="Jordi Gil Nieto" userId="dc92af6d-8bfc-4cf9-a920-242e8fde7056" providerId="ADAL" clId="{6FC6E936-F934-4CAF-9978-4FF4914385E3}" dt="2019-04-03T11:20:47.063" v="2314" actId="478"/>
          <ac:spMkLst>
            <pc:docMk/>
            <pc:sldMk cId="1619765855" sldId="526"/>
            <ac:spMk id="2" creationId="{77E61A39-178B-45C6-ABDD-14DC466E2652}"/>
          </ac:spMkLst>
        </pc:spChg>
        <pc:spChg chg="mod">
          <ac:chgData name="Jordi Gil Nieto" userId="dc92af6d-8bfc-4cf9-a920-242e8fde7056" providerId="ADAL" clId="{6FC6E936-F934-4CAF-9978-4FF4914385E3}" dt="2019-04-03T10:55:05.112" v="2310" actId="6549"/>
          <ac:spMkLst>
            <pc:docMk/>
            <pc:sldMk cId="1619765855" sldId="526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21:36.969" v="3827" actId="1038"/>
          <ac:spMkLst>
            <pc:docMk/>
            <pc:sldMk cId="1619765855" sldId="526"/>
            <ac:spMk id="15" creationId="{261104D0-42AF-477F-9800-28EAA79E7FD4}"/>
          </ac:spMkLst>
        </pc:spChg>
        <pc:spChg chg="mod">
          <ac:chgData name="Jordi Gil Nieto" userId="dc92af6d-8bfc-4cf9-a920-242e8fde7056" providerId="ADAL" clId="{6FC6E936-F934-4CAF-9978-4FF4914385E3}" dt="2019-04-02T09:47:43.363" v="409" actId="20577"/>
          <ac:spMkLst>
            <pc:docMk/>
            <pc:sldMk cId="1619765855" sldId="526"/>
            <ac:spMk id="47" creationId="{00000000-0000-0000-0000-000000000000}"/>
          </ac:spMkLst>
        </pc:spChg>
        <pc:graphicFrameChg chg="add mod">
          <ac:chgData name="Jordi Gil Nieto" userId="dc92af6d-8bfc-4cf9-a920-242e8fde7056" providerId="ADAL" clId="{6FC6E936-F934-4CAF-9978-4FF4914385E3}" dt="2019-04-04T10:25:14.991" v="3897" actId="2711"/>
          <ac:graphicFrameMkLst>
            <pc:docMk/>
            <pc:sldMk cId="1619765855" sldId="526"/>
            <ac:graphicFrameMk id="2" creationId="{2BC5B246-683D-49FA-8D6E-08518939B303}"/>
          </ac:graphicFrameMkLst>
        </pc:graphicFrameChg>
        <pc:picChg chg="mod">
          <ac:chgData name="Jordi Gil Nieto" userId="dc92af6d-8bfc-4cf9-a920-242e8fde7056" providerId="ADAL" clId="{6FC6E936-F934-4CAF-9978-4FF4914385E3}" dt="2019-04-04T10:21:29.098" v="3819" actId="1076"/>
          <ac:picMkLst>
            <pc:docMk/>
            <pc:sldMk cId="1619765855" sldId="526"/>
            <ac:picMk id="50" creationId="{7CA49931-9674-4450-8D00-638F7CF501AB}"/>
          </ac:picMkLst>
        </pc:picChg>
      </pc:sldChg>
      <pc:sldChg chg="addSp modSp add modNotesTx">
        <pc:chgData name="Jordi Gil Nieto" userId="dc92af6d-8bfc-4cf9-a920-242e8fde7056" providerId="ADAL" clId="{6FC6E936-F934-4CAF-9978-4FF4914385E3}" dt="2019-04-04T10:28:14.068" v="4072" actId="14100"/>
        <pc:sldMkLst>
          <pc:docMk/>
          <pc:sldMk cId="436621792" sldId="527"/>
        </pc:sldMkLst>
        <pc:spChg chg="mod">
          <ac:chgData name="Jordi Gil Nieto" userId="dc92af6d-8bfc-4cf9-a920-242e8fde7056" providerId="ADAL" clId="{6FC6E936-F934-4CAF-9978-4FF4914385E3}" dt="2019-04-04T08:18:58.597" v="3331" actId="113"/>
          <ac:spMkLst>
            <pc:docMk/>
            <pc:sldMk cId="436621792" sldId="527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28:14.068" v="4072" actId="14100"/>
          <ac:spMkLst>
            <pc:docMk/>
            <pc:sldMk cId="436621792" sldId="527"/>
            <ac:spMk id="16" creationId="{CC92E59F-3194-41F2-BFB2-31A5DEB438B6}"/>
          </ac:spMkLst>
        </pc:spChg>
        <pc:spChg chg="mod">
          <ac:chgData name="Jordi Gil Nieto" userId="dc92af6d-8bfc-4cf9-a920-242e8fde7056" providerId="ADAL" clId="{6FC6E936-F934-4CAF-9978-4FF4914385E3}" dt="2019-04-02T09:48:49.187" v="420" actId="20577"/>
          <ac:spMkLst>
            <pc:docMk/>
            <pc:sldMk cId="436621792" sldId="527"/>
            <ac:spMk id="46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2T09:49:06.236" v="429" actId="20577"/>
          <ac:spMkLst>
            <pc:docMk/>
            <pc:sldMk cId="436621792" sldId="527"/>
            <ac:spMk id="47" creationId="{00000000-0000-0000-0000-000000000000}"/>
          </ac:spMkLst>
        </pc:spChg>
        <pc:picChg chg="add mod">
          <ac:chgData name="Jordi Gil Nieto" userId="dc92af6d-8bfc-4cf9-a920-242e8fde7056" providerId="ADAL" clId="{6FC6E936-F934-4CAF-9978-4FF4914385E3}" dt="2019-04-02T09:50:25.820" v="435" actId="14100"/>
          <ac:picMkLst>
            <pc:docMk/>
            <pc:sldMk cId="436621792" sldId="527"/>
            <ac:picMk id="3" creationId="{590DCD8B-426F-44F3-9E6D-6C9995ECD8F3}"/>
          </ac:picMkLst>
        </pc:picChg>
      </pc:sldChg>
      <pc:sldChg chg="addSp delSp modSp add modNotesTx">
        <pc:chgData name="Jordi Gil Nieto" userId="dc92af6d-8bfc-4cf9-a920-242e8fde7056" providerId="ADAL" clId="{6FC6E936-F934-4CAF-9978-4FF4914385E3}" dt="2019-04-04T10:28:22.267" v="4082" actId="1036"/>
        <pc:sldMkLst>
          <pc:docMk/>
          <pc:sldMk cId="3764660779" sldId="528"/>
        </pc:sldMkLst>
        <pc:spChg chg="mod">
          <ac:chgData name="Jordi Gil Nieto" userId="dc92af6d-8bfc-4cf9-a920-242e8fde7056" providerId="ADAL" clId="{6FC6E936-F934-4CAF-9978-4FF4914385E3}" dt="2019-04-02T10:35:48.125" v="1335" actId="113"/>
          <ac:spMkLst>
            <pc:docMk/>
            <pc:sldMk cId="3764660779" sldId="528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28:22.267" v="4082" actId="1036"/>
          <ac:spMkLst>
            <pc:docMk/>
            <pc:sldMk cId="3764660779" sldId="528"/>
            <ac:spMk id="16" creationId="{DD995DFD-2DAC-4E05-96CC-54E41CD7DB0B}"/>
          </ac:spMkLst>
        </pc:spChg>
        <pc:spChg chg="mod">
          <ac:chgData name="Jordi Gil Nieto" userId="dc92af6d-8bfc-4cf9-a920-242e8fde7056" providerId="ADAL" clId="{6FC6E936-F934-4CAF-9978-4FF4914385E3}" dt="2019-04-02T09:50:51.875" v="449" actId="20577"/>
          <ac:spMkLst>
            <pc:docMk/>
            <pc:sldMk cId="3764660779" sldId="528"/>
            <ac:spMk id="47" creationId="{00000000-0000-0000-0000-000000000000}"/>
          </ac:spMkLst>
        </pc:spChg>
        <pc:picChg chg="del">
          <ac:chgData name="Jordi Gil Nieto" userId="dc92af6d-8bfc-4cf9-a920-242e8fde7056" providerId="ADAL" clId="{6FC6E936-F934-4CAF-9978-4FF4914385E3}" dt="2019-04-02T09:50:42.914" v="437" actId="478"/>
          <ac:picMkLst>
            <pc:docMk/>
            <pc:sldMk cId="3764660779" sldId="528"/>
            <ac:picMk id="3" creationId="{590DCD8B-426F-44F3-9E6D-6C9995ECD8F3}"/>
          </ac:picMkLst>
        </pc:picChg>
        <pc:picChg chg="add mod">
          <ac:chgData name="Jordi Gil Nieto" userId="dc92af6d-8bfc-4cf9-a920-242e8fde7056" providerId="ADAL" clId="{6FC6E936-F934-4CAF-9978-4FF4914385E3}" dt="2019-04-03T11:27:13.690" v="2440" actId="1076"/>
          <ac:picMkLst>
            <pc:docMk/>
            <pc:sldMk cId="3764660779" sldId="528"/>
            <ac:picMk id="15" creationId="{53237A3E-08BC-4CD3-BBF2-2FEB876D40C2}"/>
          </ac:picMkLst>
        </pc:picChg>
      </pc:sldChg>
      <pc:sldChg chg="addSp delSp modSp add modNotesTx">
        <pc:chgData name="Jordi Gil Nieto" userId="dc92af6d-8bfc-4cf9-a920-242e8fde7056" providerId="ADAL" clId="{6FC6E936-F934-4CAF-9978-4FF4914385E3}" dt="2019-04-17T09:53:57.221" v="4185" actId="5793"/>
        <pc:sldMkLst>
          <pc:docMk/>
          <pc:sldMk cId="1800423798" sldId="529"/>
        </pc:sldMkLst>
        <pc:spChg chg="mod">
          <ac:chgData name="Jordi Gil Nieto" userId="dc92af6d-8bfc-4cf9-a920-242e8fde7056" providerId="ADAL" clId="{6FC6E936-F934-4CAF-9978-4FF4914385E3}" dt="2019-04-04T10:28:34.854" v="4084" actId="255"/>
          <ac:spMkLst>
            <pc:docMk/>
            <pc:sldMk cId="1800423798" sldId="529"/>
            <ac:spMk id="14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2T09:58:23.690" v="501" actId="20577"/>
          <ac:spMkLst>
            <pc:docMk/>
            <pc:sldMk cId="1800423798" sldId="529"/>
            <ac:spMk id="4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2T09:58:36.460" v="504" actId="478"/>
          <ac:spMkLst>
            <pc:docMk/>
            <pc:sldMk cId="1800423798" sldId="529"/>
            <ac:spMk id="47" creationId="{00000000-0000-0000-0000-000000000000}"/>
          </ac:spMkLst>
        </pc:spChg>
        <pc:grpChg chg="add del">
          <ac:chgData name="Jordi Gil Nieto" userId="dc92af6d-8bfc-4cf9-a920-242e8fde7056" providerId="ADAL" clId="{6FC6E936-F934-4CAF-9978-4FF4914385E3}" dt="2019-04-02T09:58:33.618" v="503" actId="478"/>
          <ac:grpSpMkLst>
            <pc:docMk/>
            <pc:sldMk cId="1800423798" sldId="529"/>
            <ac:grpSpMk id="25" creationId="{00000000-0000-0000-0000-000000000000}"/>
          </ac:grpSpMkLst>
        </pc:grpChg>
        <pc:picChg chg="del">
          <ac:chgData name="Jordi Gil Nieto" userId="dc92af6d-8bfc-4cf9-a920-242e8fde7056" providerId="ADAL" clId="{6FC6E936-F934-4CAF-9978-4FF4914385E3}" dt="2019-04-02T09:58:38.260" v="505" actId="478"/>
          <ac:picMkLst>
            <pc:docMk/>
            <pc:sldMk cId="1800423798" sldId="529"/>
            <ac:picMk id="50" creationId="{7CA49931-9674-4450-8D00-638F7CF501AB}"/>
          </ac:picMkLst>
        </pc:picChg>
      </pc:sldChg>
      <pc:sldChg chg="addSp modSp add ord">
        <pc:chgData name="Jordi Gil Nieto" userId="dc92af6d-8bfc-4cf9-a920-242e8fde7056" providerId="ADAL" clId="{6FC6E936-F934-4CAF-9978-4FF4914385E3}" dt="2019-05-14T20:13:59.391" v="4186" actId="313"/>
        <pc:sldMkLst>
          <pc:docMk/>
          <pc:sldMk cId="2965529254" sldId="530"/>
        </pc:sldMkLst>
        <pc:spChg chg="mod">
          <ac:chgData name="Jordi Gil Nieto" userId="dc92af6d-8bfc-4cf9-a920-242e8fde7056" providerId="ADAL" clId="{6FC6E936-F934-4CAF-9978-4FF4914385E3}" dt="2019-05-14T20:13:59.391" v="4186" actId="313"/>
          <ac:spMkLst>
            <pc:docMk/>
            <pc:sldMk cId="2965529254" sldId="530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27:33.167" v="3926" actId="1037"/>
          <ac:spMkLst>
            <pc:docMk/>
            <pc:sldMk cId="2965529254" sldId="530"/>
            <ac:spMk id="21" creationId="{FDE6DAA6-CD17-44F7-A74B-31777E56FCE3}"/>
          </ac:spMkLst>
        </pc:spChg>
        <pc:spChg chg="mod">
          <ac:chgData name="Jordi Gil Nieto" userId="dc92af6d-8bfc-4cf9-a920-242e8fde7056" providerId="ADAL" clId="{6FC6E936-F934-4CAF-9978-4FF4914385E3}" dt="2019-04-02T10:33:13.948" v="917" actId="20577"/>
          <ac:spMkLst>
            <pc:docMk/>
            <pc:sldMk cId="2965529254" sldId="530"/>
            <ac:spMk id="47" creationId="{00000000-0000-0000-0000-000000000000}"/>
          </ac:spMkLst>
        </pc:spChg>
        <pc:picChg chg="add mod">
          <ac:chgData name="Jordi Gil Nieto" userId="dc92af6d-8bfc-4cf9-a920-242e8fde7056" providerId="ADAL" clId="{6FC6E936-F934-4CAF-9978-4FF4914385E3}" dt="2019-04-04T07:41:09.439" v="2726" actId="1076"/>
          <ac:picMkLst>
            <pc:docMk/>
            <pc:sldMk cId="2965529254" sldId="530"/>
            <ac:picMk id="9221" creationId="{F3F1DF60-EAE6-40E7-AB60-0239CFA26518}"/>
          </ac:picMkLst>
        </pc:picChg>
        <pc:picChg chg="add mod">
          <ac:chgData name="Jordi Gil Nieto" userId="dc92af6d-8bfc-4cf9-a920-242e8fde7056" providerId="ADAL" clId="{6FC6E936-F934-4CAF-9978-4FF4914385E3}" dt="2019-04-04T07:41:31.321" v="2731" actId="1076"/>
          <ac:picMkLst>
            <pc:docMk/>
            <pc:sldMk cId="2965529254" sldId="530"/>
            <ac:picMk id="9223" creationId="{368B3310-D086-4249-82D0-C462F01A6198}"/>
          </ac:picMkLst>
        </pc:picChg>
        <pc:picChg chg="add mod">
          <ac:chgData name="Jordi Gil Nieto" userId="dc92af6d-8bfc-4cf9-a920-242e8fde7056" providerId="ADAL" clId="{6FC6E936-F934-4CAF-9978-4FF4914385E3}" dt="2019-04-04T07:41:46.547" v="2734" actId="1076"/>
          <ac:picMkLst>
            <pc:docMk/>
            <pc:sldMk cId="2965529254" sldId="530"/>
            <ac:picMk id="9225" creationId="{E65C42FC-9183-410D-8BB7-4EAE1B6CF483}"/>
          </ac:picMkLst>
        </pc:picChg>
        <pc:picChg chg="add mod">
          <ac:chgData name="Jordi Gil Nieto" userId="dc92af6d-8bfc-4cf9-a920-242e8fde7056" providerId="ADAL" clId="{6FC6E936-F934-4CAF-9978-4FF4914385E3}" dt="2019-04-04T07:42:08.957" v="2737" actId="1076"/>
          <ac:picMkLst>
            <pc:docMk/>
            <pc:sldMk cId="2965529254" sldId="530"/>
            <ac:picMk id="9227" creationId="{9AA70BB7-C076-4936-BDA0-C2BD40E9E960}"/>
          </ac:picMkLst>
        </pc:picChg>
        <pc:picChg chg="add mod">
          <ac:chgData name="Jordi Gil Nieto" userId="dc92af6d-8bfc-4cf9-a920-242e8fde7056" providerId="ADAL" clId="{6FC6E936-F934-4CAF-9978-4FF4914385E3}" dt="2019-04-04T07:42:41.062" v="2745" actId="14100"/>
          <ac:picMkLst>
            <pc:docMk/>
            <pc:sldMk cId="2965529254" sldId="530"/>
            <ac:picMk id="9229" creationId="{9B0E85C9-343E-48B6-AB5E-6EB9198398C8}"/>
          </ac:picMkLst>
        </pc:picChg>
        <pc:picChg chg="add mod">
          <ac:chgData name="Jordi Gil Nieto" userId="dc92af6d-8bfc-4cf9-a920-242e8fde7056" providerId="ADAL" clId="{6FC6E936-F934-4CAF-9978-4FF4914385E3}" dt="2019-04-04T07:42:42.744" v="2746" actId="1076"/>
          <ac:picMkLst>
            <pc:docMk/>
            <pc:sldMk cId="2965529254" sldId="530"/>
            <ac:picMk id="9231" creationId="{E32F0965-1A01-4EA1-B5AD-4AC6DA21C475}"/>
          </ac:picMkLst>
        </pc:picChg>
      </pc:sldChg>
      <pc:sldChg chg="addSp delSp modSp add ord modNotesTx">
        <pc:chgData name="Jordi Gil Nieto" userId="dc92af6d-8bfc-4cf9-a920-242e8fde7056" providerId="ADAL" clId="{6FC6E936-F934-4CAF-9978-4FF4914385E3}" dt="2019-04-04T08:15:55.910" v="3318"/>
        <pc:sldMkLst>
          <pc:docMk/>
          <pc:sldMk cId="616148466" sldId="531"/>
        </pc:sldMkLst>
        <pc:spChg chg="add mod">
          <ac:chgData name="Jordi Gil Nieto" userId="dc92af6d-8bfc-4cf9-a920-242e8fde7056" providerId="ADAL" clId="{6FC6E936-F934-4CAF-9978-4FF4914385E3}" dt="2019-04-03T07:46:24.212" v="2155" actId="20577"/>
          <ac:spMkLst>
            <pc:docMk/>
            <pc:sldMk cId="616148466" sldId="531"/>
            <ac:spMk id="14" creationId="{6CBD4B3D-78A9-46CF-B7B8-8C171B3F1943}"/>
          </ac:spMkLst>
        </pc:spChg>
        <pc:spChg chg="add mod">
          <ac:chgData name="Jordi Gil Nieto" userId="dc92af6d-8bfc-4cf9-a920-242e8fde7056" providerId="ADAL" clId="{6FC6E936-F934-4CAF-9978-4FF4914385E3}" dt="2019-04-04T08:11:53.766" v="3292" actId="255"/>
          <ac:spMkLst>
            <pc:docMk/>
            <pc:sldMk cId="616148466" sldId="531"/>
            <ac:spMk id="15" creationId="{7BD50C13-A712-406E-8E16-C9230DE49BA2}"/>
          </ac:spMkLst>
        </pc:spChg>
        <pc:picChg chg="del">
          <ac:chgData name="Jordi Gil Nieto" userId="dc92af6d-8bfc-4cf9-a920-242e8fde7056" providerId="ADAL" clId="{6FC6E936-F934-4CAF-9978-4FF4914385E3}" dt="2019-04-03T07:46:15.298" v="2137" actId="478"/>
          <ac:picMkLst>
            <pc:docMk/>
            <pc:sldMk cId="616148466" sldId="531"/>
            <ac:picMk id="50" creationId="{7C7095C4-E528-4401-9A35-152B5045531C}"/>
          </ac:picMkLst>
        </pc:picChg>
      </pc:sldChg>
      <pc:sldChg chg="addSp delSp modSp add modNotesTx">
        <pc:chgData name="Jordi Gil Nieto" userId="dc92af6d-8bfc-4cf9-a920-242e8fde7056" providerId="ADAL" clId="{6FC6E936-F934-4CAF-9978-4FF4914385E3}" dt="2019-04-03T10:37:29.071" v="2296" actId="113"/>
        <pc:sldMkLst>
          <pc:docMk/>
          <pc:sldMk cId="2267118212" sldId="532"/>
        </pc:sldMkLst>
        <pc:spChg chg="del">
          <ac:chgData name="Jordi Gil Nieto" userId="dc92af6d-8bfc-4cf9-a920-242e8fde7056" providerId="ADAL" clId="{6FC6E936-F934-4CAF-9978-4FF4914385E3}" dt="2019-04-03T09:25:37.095" v="2206" actId="478"/>
          <ac:spMkLst>
            <pc:docMk/>
            <pc:sldMk cId="2267118212" sldId="532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3T09:27:24.574" v="2246" actId="20577"/>
          <ac:spMkLst>
            <pc:docMk/>
            <pc:sldMk cId="2267118212" sldId="532"/>
            <ac:spMk id="15" creationId="{0E4CD64F-7A5A-43CC-9992-EE3101A0FFF8}"/>
          </ac:spMkLst>
        </pc:spChg>
        <pc:spChg chg="add mod">
          <ac:chgData name="Jordi Gil Nieto" userId="dc92af6d-8bfc-4cf9-a920-242e8fde7056" providerId="ADAL" clId="{6FC6E936-F934-4CAF-9978-4FF4914385E3}" dt="2019-04-03T10:37:11.055" v="2291" actId="207"/>
          <ac:spMkLst>
            <pc:docMk/>
            <pc:sldMk cId="2267118212" sldId="532"/>
            <ac:spMk id="17" creationId="{814B81A0-84F4-44D7-9026-05C2E94B84A5}"/>
          </ac:spMkLst>
        </pc:spChg>
        <pc:spChg chg="add mod">
          <ac:chgData name="Jordi Gil Nieto" userId="dc92af6d-8bfc-4cf9-a920-242e8fde7056" providerId="ADAL" clId="{6FC6E936-F934-4CAF-9978-4FF4914385E3}" dt="2019-04-03T10:37:21.836" v="2294" actId="113"/>
          <ac:spMkLst>
            <pc:docMk/>
            <pc:sldMk cId="2267118212" sldId="532"/>
            <ac:spMk id="18" creationId="{AE7CA193-1540-45EC-BF0C-8C048C5C7FE3}"/>
          </ac:spMkLst>
        </pc:spChg>
        <pc:spChg chg="add mod">
          <ac:chgData name="Jordi Gil Nieto" userId="dc92af6d-8bfc-4cf9-a920-242e8fde7056" providerId="ADAL" clId="{6FC6E936-F934-4CAF-9978-4FF4914385E3}" dt="2019-04-03T10:37:29.071" v="2296" actId="113"/>
          <ac:spMkLst>
            <pc:docMk/>
            <pc:sldMk cId="2267118212" sldId="532"/>
            <ac:spMk id="19" creationId="{91FAB163-3DB0-4203-B166-C6AD30E8AD1E}"/>
          </ac:spMkLst>
        </pc:spChg>
        <pc:picChg chg="del">
          <ac:chgData name="Jordi Gil Nieto" userId="dc92af6d-8bfc-4cf9-a920-242e8fde7056" providerId="ADAL" clId="{6FC6E936-F934-4CAF-9978-4FF4914385E3}" dt="2019-04-03T09:25:34.509" v="2205" actId="478"/>
          <ac:picMkLst>
            <pc:docMk/>
            <pc:sldMk cId="2267118212" sldId="532"/>
            <ac:picMk id="50" creationId="{7CA49931-9674-4450-8D00-638F7CF501AB}"/>
          </ac:picMkLst>
        </pc:picChg>
        <pc:picChg chg="add mod">
          <ac:chgData name="Jordi Gil Nieto" userId="dc92af6d-8bfc-4cf9-a920-242e8fde7056" providerId="ADAL" clId="{6FC6E936-F934-4CAF-9978-4FF4914385E3}" dt="2019-04-03T09:27:35.985" v="2250" actId="14100"/>
          <ac:picMkLst>
            <pc:docMk/>
            <pc:sldMk cId="2267118212" sldId="532"/>
            <ac:picMk id="12290" creationId="{4FFA4226-5F98-4FEC-A3CC-B77A750CCF85}"/>
          </ac:picMkLst>
        </pc:picChg>
      </pc:sldChg>
      <pc:sldChg chg="addSp delSp modSp add ord modNotesTx">
        <pc:chgData name="Jordi Gil Nieto" userId="dc92af6d-8bfc-4cf9-a920-242e8fde7056" providerId="ADAL" clId="{6FC6E936-F934-4CAF-9978-4FF4914385E3}" dt="2019-04-04T08:00:04.357" v="3087"/>
        <pc:sldMkLst>
          <pc:docMk/>
          <pc:sldMk cId="1251394239" sldId="533"/>
        </pc:sldMkLst>
        <pc:spChg chg="del">
          <ac:chgData name="Jordi Gil Nieto" userId="dc92af6d-8bfc-4cf9-a920-242e8fde7056" providerId="ADAL" clId="{6FC6E936-F934-4CAF-9978-4FF4914385E3}" dt="2019-04-03T11:20:58.805" v="2318" actId="478"/>
          <ac:spMkLst>
            <pc:docMk/>
            <pc:sldMk cId="1251394239" sldId="533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3T11:21:27.865" v="2374" actId="20577"/>
          <ac:spMkLst>
            <pc:docMk/>
            <pc:sldMk cId="1251394239" sldId="533"/>
            <ac:spMk id="15" creationId="{3AFA7131-3939-49EE-B632-35CE9DBA4657}"/>
          </ac:spMkLst>
        </pc:spChg>
        <pc:graphicFrameChg chg="add mod">
          <ac:chgData name="Jordi Gil Nieto" userId="dc92af6d-8bfc-4cf9-a920-242e8fde7056" providerId="ADAL" clId="{6FC6E936-F934-4CAF-9978-4FF4914385E3}" dt="2019-04-03T11:26:30.330" v="2436"/>
          <ac:graphicFrameMkLst>
            <pc:docMk/>
            <pc:sldMk cId="1251394239" sldId="533"/>
            <ac:graphicFrameMk id="2" creationId="{34C982A6-6B13-405C-B300-B92B7BEF1921}"/>
          </ac:graphicFrameMkLst>
        </pc:graphicFrameChg>
        <pc:picChg chg="del">
          <ac:chgData name="Jordi Gil Nieto" userId="dc92af6d-8bfc-4cf9-a920-242e8fde7056" providerId="ADAL" clId="{6FC6E936-F934-4CAF-9978-4FF4914385E3}" dt="2019-04-03T11:20:52.625" v="2316" actId="478"/>
          <ac:picMkLst>
            <pc:docMk/>
            <pc:sldMk cId="1251394239" sldId="533"/>
            <ac:picMk id="50" creationId="{7CA49931-9674-4450-8D00-638F7CF501AB}"/>
          </ac:picMkLst>
        </pc:picChg>
      </pc:sldChg>
      <pc:sldChg chg="addSp delSp modSp add modNotesTx">
        <pc:chgData name="Jordi Gil Nieto" userId="dc92af6d-8bfc-4cf9-a920-242e8fde7056" providerId="ADAL" clId="{6FC6E936-F934-4CAF-9978-4FF4914385E3}" dt="2019-04-04T07:55:35.101" v="3083" actId="20577"/>
        <pc:sldMkLst>
          <pc:docMk/>
          <pc:sldMk cId="1302732954" sldId="534"/>
        </pc:sldMkLst>
        <pc:spChg chg="add del mod">
          <ac:chgData name="Jordi Gil Nieto" userId="dc92af6d-8bfc-4cf9-a920-242e8fde7056" providerId="ADAL" clId="{6FC6E936-F934-4CAF-9978-4FF4914385E3}" dt="2019-04-04T07:47:04.319" v="2879" actId="478"/>
          <ac:spMkLst>
            <pc:docMk/>
            <pc:sldMk cId="1302732954" sldId="534"/>
            <ac:spMk id="2" creationId="{EE33FB12-17B2-40BB-A0EA-031F04971108}"/>
          </ac:spMkLst>
        </pc:spChg>
        <pc:spChg chg="del">
          <ac:chgData name="Jordi Gil Nieto" userId="dc92af6d-8bfc-4cf9-a920-242e8fde7056" providerId="ADAL" clId="{6FC6E936-F934-4CAF-9978-4FF4914385E3}" dt="2019-04-03T11:29:19.482" v="2465" actId="478"/>
          <ac:spMkLst>
            <pc:docMk/>
            <pc:sldMk cId="1302732954" sldId="534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07:48:43.775" v="3029" actId="113"/>
          <ac:spMkLst>
            <pc:docMk/>
            <pc:sldMk cId="1302732954" sldId="534"/>
            <ac:spMk id="14" creationId="{48B562C9-70E1-4DAA-AC40-FEC511E7DE29}"/>
          </ac:spMkLst>
        </pc:spChg>
        <pc:spChg chg="mod">
          <ac:chgData name="Jordi Gil Nieto" userId="dc92af6d-8bfc-4cf9-a920-242e8fde7056" providerId="ADAL" clId="{6FC6E936-F934-4CAF-9978-4FF4914385E3}" dt="2019-04-03T11:29:16.171" v="2464" actId="20577"/>
          <ac:spMkLst>
            <pc:docMk/>
            <pc:sldMk cId="1302732954" sldId="534"/>
            <ac:spMk id="46" creationId="{00000000-0000-0000-0000-000000000000}"/>
          </ac:spMkLst>
        </pc:spChg>
        <pc:graphicFrameChg chg="add mod">
          <ac:chgData name="Jordi Gil Nieto" userId="dc92af6d-8bfc-4cf9-a920-242e8fde7056" providerId="ADAL" clId="{6FC6E936-F934-4CAF-9978-4FF4914385E3}" dt="2019-04-04T07:55:35.101" v="3083" actId="20577"/>
          <ac:graphicFrameMkLst>
            <pc:docMk/>
            <pc:sldMk cId="1302732954" sldId="534"/>
            <ac:graphicFrameMk id="3" creationId="{4BAA735B-595A-41B3-8517-211828653994}"/>
          </ac:graphicFrameMkLst>
        </pc:graphicFrameChg>
      </pc:sldChg>
      <pc:sldChg chg="addSp delSp modSp add modNotesTx">
        <pc:chgData name="Jordi Gil Nieto" userId="dc92af6d-8bfc-4cf9-a920-242e8fde7056" providerId="ADAL" clId="{6FC6E936-F934-4CAF-9978-4FF4914385E3}" dt="2019-04-04T10:20:38.452" v="3816" actId="20577"/>
        <pc:sldMkLst>
          <pc:docMk/>
          <pc:sldMk cId="412082376" sldId="535"/>
        </pc:sldMkLst>
        <pc:spChg chg="del">
          <ac:chgData name="Jordi Gil Nieto" userId="dc92af6d-8bfc-4cf9-a920-242e8fde7056" providerId="ADAL" clId="{6FC6E936-F934-4CAF-9978-4FF4914385E3}" dt="2019-04-04T10:15:16.679" v="3560" actId="478"/>
          <ac:spMkLst>
            <pc:docMk/>
            <pc:sldMk cId="412082376" sldId="535"/>
            <ac:spMk id="2" creationId="{93037DD5-102E-4D32-9439-91DA2FEDD037}"/>
          </ac:spMkLst>
        </pc:spChg>
        <pc:spChg chg="del">
          <ac:chgData name="Jordi Gil Nieto" userId="dc92af6d-8bfc-4cf9-a920-242e8fde7056" providerId="ADAL" clId="{6FC6E936-F934-4CAF-9978-4FF4914385E3}" dt="2019-04-04T10:15:14.754" v="3559" actId="478"/>
          <ac:spMkLst>
            <pc:docMk/>
            <pc:sldMk cId="412082376" sldId="535"/>
            <ac:spMk id="14" creationId="{00000000-0000-0000-0000-000000000000}"/>
          </ac:spMkLst>
        </pc:spChg>
        <pc:spChg chg="add del mod">
          <ac:chgData name="Jordi Gil Nieto" userId="dc92af6d-8bfc-4cf9-a920-242e8fde7056" providerId="ADAL" clId="{6FC6E936-F934-4CAF-9978-4FF4914385E3}" dt="2019-04-04T10:20:19.279" v="3808" actId="478"/>
          <ac:spMkLst>
            <pc:docMk/>
            <pc:sldMk cId="412082376" sldId="535"/>
            <ac:spMk id="17" creationId="{6FCDF5EE-2841-4E52-8A8E-EAA2979A9387}"/>
          </ac:spMkLst>
        </pc:spChg>
        <pc:spChg chg="mod">
          <ac:chgData name="Jordi Gil Nieto" userId="dc92af6d-8bfc-4cf9-a920-242e8fde7056" providerId="ADAL" clId="{6FC6E936-F934-4CAF-9978-4FF4914385E3}" dt="2019-04-04T10:20:16.018" v="3807"/>
          <ac:spMkLst>
            <pc:docMk/>
            <pc:sldMk cId="412082376" sldId="535"/>
            <ac:spMk id="47" creationId="{00000000-0000-0000-0000-000000000000}"/>
          </ac:spMkLst>
        </pc:spChg>
        <pc:graphicFrameChg chg="add mod">
          <ac:chgData name="Jordi Gil Nieto" userId="dc92af6d-8bfc-4cf9-a920-242e8fde7056" providerId="ADAL" clId="{6FC6E936-F934-4CAF-9978-4FF4914385E3}" dt="2019-04-04T10:20:38.452" v="3816" actId="20577"/>
          <ac:graphicFrameMkLst>
            <pc:docMk/>
            <pc:sldMk cId="412082376" sldId="535"/>
            <ac:graphicFrameMk id="3" creationId="{65146BE8-21D5-4C33-BF05-765BCC08D847}"/>
          </ac:graphicFrameMkLst>
        </pc:graphicFrameChg>
        <pc:picChg chg="del">
          <ac:chgData name="Jordi Gil Nieto" userId="dc92af6d-8bfc-4cf9-a920-242e8fde7056" providerId="ADAL" clId="{6FC6E936-F934-4CAF-9978-4FF4914385E3}" dt="2019-04-04T10:15:14.754" v="3559" actId="478"/>
          <ac:picMkLst>
            <pc:docMk/>
            <pc:sldMk cId="412082376" sldId="535"/>
            <ac:picMk id="4" creationId="{5914F587-D02F-4BC8-8089-F9A44428A221}"/>
          </ac:picMkLst>
        </pc:picChg>
        <pc:picChg chg="del">
          <ac:chgData name="Jordi Gil Nieto" userId="dc92af6d-8bfc-4cf9-a920-242e8fde7056" providerId="ADAL" clId="{6FC6E936-F934-4CAF-9978-4FF4914385E3}" dt="2019-04-04T10:15:14.754" v="3559" actId="478"/>
          <ac:picMkLst>
            <pc:docMk/>
            <pc:sldMk cId="412082376" sldId="535"/>
            <ac:picMk id="50" creationId="{7CA49931-9674-4450-8D00-638F7CF501AB}"/>
          </ac:picMkLst>
        </pc:picChg>
      </pc:sldChg>
      <pc:sldChg chg="modSp add">
        <pc:chgData name="Jordi Gil Nieto" userId="dc92af6d-8bfc-4cf9-a920-242e8fde7056" providerId="ADAL" clId="{6FC6E936-F934-4CAF-9978-4FF4914385E3}" dt="2019-04-04T10:32:29.347" v="4169" actId="108"/>
        <pc:sldMkLst>
          <pc:docMk/>
          <pc:sldMk cId="855522413" sldId="536"/>
        </pc:sldMkLst>
        <pc:spChg chg="mod">
          <ac:chgData name="Jordi Gil Nieto" userId="dc92af6d-8bfc-4cf9-a920-242e8fde7056" providerId="ADAL" clId="{6FC6E936-F934-4CAF-9978-4FF4914385E3}" dt="2019-04-04T10:32:29.347" v="4169" actId="108"/>
          <ac:spMkLst>
            <pc:docMk/>
            <pc:sldMk cId="855522413" sldId="536"/>
            <ac:spMk id="46" creationId="{00000000-0000-0000-0000-000000000000}"/>
          </ac:spMkLst>
        </pc:spChg>
      </pc:sldChg>
      <pc:sldChg chg="modSp add">
        <pc:chgData name="Jordi Gil Nieto" userId="dc92af6d-8bfc-4cf9-a920-242e8fde7056" providerId="ADAL" clId="{6FC6E936-F934-4CAF-9978-4FF4914385E3}" dt="2019-04-04T10:32:49.005" v="4173" actId="108"/>
        <pc:sldMkLst>
          <pc:docMk/>
          <pc:sldMk cId="2943615084" sldId="537"/>
        </pc:sldMkLst>
        <pc:spChg chg="mod">
          <ac:chgData name="Jordi Gil Nieto" userId="dc92af6d-8bfc-4cf9-a920-242e8fde7056" providerId="ADAL" clId="{6FC6E936-F934-4CAF-9978-4FF4914385E3}" dt="2019-04-04T10:32:49.005" v="4173" actId="108"/>
          <ac:spMkLst>
            <pc:docMk/>
            <pc:sldMk cId="2943615084" sldId="537"/>
            <ac:spMk id="46" creationId="{00000000-0000-0000-0000-000000000000}"/>
          </ac:spMkLst>
        </pc:spChg>
      </pc:sldChg>
      <pc:sldChg chg="modSp add">
        <pc:chgData name="Jordi Gil Nieto" userId="dc92af6d-8bfc-4cf9-a920-242e8fde7056" providerId="ADAL" clId="{6FC6E936-F934-4CAF-9978-4FF4914385E3}" dt="2019-04-04T10:33:00.884" v="4175" actId="108"/>
        <pc:sldMkLst>
          <pc:docMk/>
          <pc:sldMk cId="1957730959" sldId="538"/>
        </pc:sldMkLst>
        <pc:spChg chg="mod">
          <ac:chgData name="Jordi Gil Nieto" userId="dc92af6d-8bfc-4cf9-a920-242e8fde7056" providerId="ADAL" clId="{6FC6E936-F934-4CAF-9978-4FF4914385E3}" dt="2019-04-04T10:33:00.884" v="4175" actId="108"/>
          <ac:spMkLst>
            <pc:docMk/>
            <pc:sldMk cId="1957730959" sldId="538"/>
            <ac:spMk id="46" creationId="{00000000-0000-0000-0000-000000000000}"/>
          </ac:spMkLst>
        </pc:spChg>
      </pc:sldChg>
      <pc:sldChg chg="modSp add">
        <pc:chgData name="Jordi Gil Nieto" userId="dc92af6d-8bfc-4cf9-a920-242e8fde7056" providerId="ADAL" clId="{6FC6E936-F934-4CAF-9978-4FF4914385E3}" dt="2019-04-04T10:33:11.748" v="4178" actId="108"/>
        <pc:sldMkLst>
          <pc:docMk/>
          <pc:sldMk cId="2069808195" sldId="539"/>
        </pc:sldMkLst>
        <pc:spChg chg="mod">
          <ac:chgData name="Jordi Gil Nieto" userId="dc92af6d-8bfc-4cf9-a920-242e8fde7056" providerId="ADAL" clId="{6FC6E936-F934-4CAF-9978-4FF4914385E3}" dt="2019-04-04T10:33:11.748" v="4178" actId="108"/>
          <ac:spMkLst>
            <pc:docMk/>
            <pc:sldMk cId="2069808195" sldId="539"/>
            <ac:spMk id="46" creationId="{00000000-0000-0000-0000-000000000000}"/>
          </ac:spMkLst>
        </pc:spChg>
      </pc:sldChg>
      <pc:sldChg chg="modSp add">
        <pc:chgData name="Jordi Gil Nieto" userId="dc92af6d-8bfc-4cf9-a920-242e8fde7056" providerId="ADAL" clId="{6FC6E936-F934-4CAF-9978-4FF4914385E3}" dt="2019-04-04T10:33:27.044" v="4180" actId="108"/>
        <pc:sldMkLst>
          <pc:docMk/>
          <pc:sldMk cId="903296892" sldId="540"/>
        </pc:sldMkLst>
        <pc:spChg chg="mod">
          <ac:chgData name="Jordi Gil Nieto" userId="dc92af6d-8bfc-4cf9-a920-242e8fde7056" providerId="ADAL" clId="{6FC6E936-F934-4CAF-9978-4FF4914385E3}" dt="2019-04-04T10:33:27.044" v="4180" actId="108"/>
          <ac:spMkLst>
            <pc:docMk/>
            <pc:sldMk cId="903296892" sldId="540"/>
            <ac:spMk id="46" creationId="{00000000-0000-0000-0000-000000000000}"/>
          </ac:spMkLst>
        </pc:spChg>
      </pc:sldChg>
    </pc:docChg>
  </pc:docChgLst>
  <pc:docChgLst>
    <pc:chgData name="Daniel Amores Alvarez" userId="S::damoresa@everis.com::ff5997fe-a964-45d1-b9c2-852633b5230a" providerId="AD" clId="Web-{66946E7E-D369-4415-BA61-A69B87E5B379}"/>
    <pc:docChg chg="addSld delSld modSld modSection">
      <pc:chgData name="Daniel Amores Alvarez" userId="S::damoresa@everis.com::ff5997fe-a964-45d1-b9c2-852633b5230a" providerId="AD" clId="Web-{66946E7E-D369-4415-BA61-A69B87E5B379}" dt="2020-01-13T12:24:26.549" v="505" actId="20577"/>
      <pc:docMkLst>
        <pc:docMk/>
      </pc:docMkLst>
      <pc:sldChg chg="del">
        <pc:chgData name="Daniel Amores Alvarez" userId="S::damoresa@everis.com::ff5997fe-a964-45d1-b9c2-852633b5230a" providerId="AD" clId="Web-{66946E7E-D369-4415-BA61-A69B87E5B379}" dt="2020-01-13T12:07:30.059" v="16"/>
        <pc:sldMkLst>
          <pc:docMk/>
          <pc:sldMk cId="436621792" sldId="527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0.040" v="15"/>
        <pc:sldMkLst>
          <pc:docMk/>
          <pc:sldMk cId="3764660779" sldId="528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0.020" v="13"/>
        <pc:sldMkLst>
          <pc:docMk/>
          <pc:sldMk cId="1800423798" sldId="529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29.999" v="11"/>
        <pc:sldMkLst>
          <pc:docMk/>
          <pc:sldMk cId="1302732954" sldId="534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0.061" v="17"/>
        <pc:sldMkLst>
          <pc:docMk/>
          <pc:sldMk cId="2943615084" sldId="537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0.021" v="14"/>
        <pc:sldMkLst>
          <pc:docMk/>
          <pc:sldMk cId="1957730959" sldId="538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0.001" v="12"/>
        <pc:sldMkLst>
          <pc:docMk/>
          <pc:sldMk cId="2069808195" sldId="539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6.598" v="19"/>
        <pc:sldMkLst>
          <pc:docMk/>
          <pc:sldMk cId="903296892" sldId="540"/>
        </pc:sldMkLst>
      </pc:sldChg>
      <pc:sldChg chg="addSp modSp">
        <pc:chgData name="Daniel Amores Alvarez" userId="S::damoresa@everis.com::ff5997fe-a964-45d1-b9c2-852633b5230a" providerId="AD" clId="Web-{66946E7E-D369-4415-BA61-A69B87E5B379}" dt="2020-01-13T12:21:41.611" v="385" actId="1076"/>
        <pc:sldMkLst>
          <pc:docMk/>
          <pc:sldMk cId="1791240125" sldId="542"/>
        </pc:sldMkLst>
        <pc:spChg chg="add mod">
          <ac:chgData name="Daniel Amores Alvarez" userId="S::damoresa@everis.com::ff5997fe-a964-45d1-b9c2-852633b5230a" providerId="AD" clId="Web-{66946E7E-D369-4415-BA61-A69B87E5B379}" dt="2020-01-13T12:21:41.611" v="385" actId="1076"/>
          <ac:spMkLst>
            <pc:docMk/>
            <pc:sldMk cId="1791240125" sldId="542"/>
            <ac:spMk id="16" creationId="{6909A535-8C53-4A37-B3E0-FC6F7A28423E}"/>
          </ac:spMkLst>
        </pc:spChg>
        <pc:spChg chg="mod">
          <ac:chgData name="Daniel Amores Alvarez" userId="S::damoresa@everis.com::ff5997fe-a964-45d1-b9c2-852633b5230a" providerId="AD" clId="Web-{66946E7E-D369-4415-BA61-A69B87E5B379}" dt="2020-01-13T12:07:24.079" v="8" actId="20577"/>
          <ac:spMkLst>
            <pc:docMk/>
            <pc:sldMk cId="1791240125" sldId="542"/>
            <ac:spMk id="46" creationId="{00000000-0000-0000-0000-000000000000}"/>
          </ac:spMkLst>
        </pc:spChg>
        <pc:picChg chg="add">
          <ac:chgData name="Daniel Amores Alvarez" userId="S::damoresa@everis.com::ff5997fe-a964-45d1-b9c2-852633b5230a" providerId="AD" clId="Web-{66946E7E-D369-4415-BA61-A69B87E5B379}" dt="2020-01-13T12:07:06.687" v="0"/>
          <ac:picMkLst>
            <pc:docMk/>
            <pc:sldMk cId="1791240125" sldId="542"/>
            <ac:picMk id="15" creationId="{DF4EF015-7992-4859-AC70-FEBECA67C1F6}"/>
          </ac:picMkLst>
        </pc:picChg>
      </pc:sldChg>
      <pc:sldChg chg="modSp add replId">
        <pc:chgData name="Daniel Amores Alvarez" userId="S::damoresa@everis.com::ff5997fe-a964-45d1-b9c2-852633b5230a" providerId="AD" clId="Web-{66946E7E-D369-4415-BA61-A69B87E5B379}" dt="2020-01-13T12:08:07.220" v="42" actId="20577"/>
        <pc:sldMkLst>
          <pc:docMk/>
          <pc:sldMk cId="2508201071" sldId="545"/>
        </pc:sldMkLst>
        <pc:spChg chg="mod">
          <ac:chgData name="Daniel Amores Alvarez" userId="S::damoresa@everis.com::ff5997fe-a964-45d1-b9c2-852633b5230a" providerId="AD" clId="Web-{66946E7E-D369-4415-BA61-A69B87E5B379}" dt="2020-01-13T12:08:07.220" v="42" actId="20577"/>
          <ac:spMkLst>
            <pc:docMk/>
            <pc:sldMk cId="2508201071" sldId="545"/>
            <ac:spMk id="46" creationId="{00000000-0000-0000-0000-000000000000}"/>
          </ac:spMkLst>
        </pc:spChg>
      </pc:sldChg>
      <pc:sldChg chg="add replId">
        <pc:chgData name="Daniel Amores Alvarez" userId="S::damoresa@everis.com::ff5997fe-a964-45d1-b9c2-852633b5230a" providerId="AD" clId="Web-{66946E7E-D369-4415-BA61-A69B87E5B379}" dt="2020-01-13T12:07:51.250" v="30"/>
        <pc:sldMkLst>
          <pc:docMk/>
          <pc:sldMk cId="588513800" sldId="546"/>
        </pc:sldMkLst>
      </pc:sldChg>
      <pc:sldChg chg="modSp add replId">
        <pc:chgData name="Daniel Amores Alvarez" userId="S::damoresa@everis.com::ff5997fe-a964-45d1-b9c2-852633b5230a" providerId="AD" clId="Web-{66946E7E-D369-4415-BA61-A69B87E5B379}" dt="2020-01-13T12:08:17.814" v="47" actId="20577"/>
        <pc:sldMkLst>
          <pc:docMk/>
          <pc:sldMk cId="4278879172" sldId="547"/>
        </pc:sldMkLst>
        <pc:spChg chg="mod">
          <ac:chgData name="Daniel Amores Alvarez" userId="S::damoresa@everis.com::ff5997fe-a964-45d1-b9c2-852633b5230a" providerId="AD" clId="Web-{66946E7E-D369-4415-BA61-A69B87E5B379}" dt="2020-01-13T12:08:17.814" v="47" actId="20577"/>
          <ac:spMkLst>
            <pc:docMk/>
            <pc:sldMk cId="4278879172" sldId="547"/>
            <ac:spMk id="46" creationId="{00000000-0000-0000-0000-000000000000}"/>
          </ac:spMkLst>
        </pc:spChg>
      </pc:sldChg>
      <pc:sldChg chg="add del replId">
        <pc:chgData name="Daniel Amores Alvarez" userId="S::damoresa@everis.com::ff5997fe-a964-45d1-b9c2-852633b5230a" providerId="AD" clId="Web-{66946E7E-D369-4415-BA61-A69B87E5B379}" dt="2020-01-13T12:08:28.339" v="54"/>
        <pc:sldMkLst>
          <pc:docMk/>
          <pc:sldMk cId="3723997582" sldId="548"/>
        </pc:sldMkLst>
      </pc:sldChg>
      <pc:sldChg chg="modSp add replId">
        <pc:chgData name="Daniel Amores Alvarez" userId="S::damoresa@everis.com::ff5997fe-a964-45d1-b9c2-852633b5230a" providerId="AD" clId="Web-{66946E7E-D369-4415-BA61-A69B87E5B379}" dt="2020-01-13T12:08:24.093" v="52" actId="20577"/>
        <pc:sldMkLst>
          <pc:docMk/>
          <pc:sldMk cId="3976969057" sldId="549"/>
        </pc:sldMkLst>
        <pc:spChg chg="mod">
          <ac:chgData name="Daniel Amores Alvarez" userId="S::damoresa@everis.com::ff5997fe-a964-45d1-b9c2-852633b5230a" providerId="AD" clId="Web-{66946E7E-D369-4415-BA61-A69B87E5B379}" dt="2020-01-13T12:08:24.093" v="52" actId="20577"/>
          <ac:spMkLst>
            <pc:docMk/>
            <pc:sldMk cId="3976969057" sldId="549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66946E7E-D369-4415-BA61-A69B87E5B379}" dt="2020-01-13T12:20:44.330" v="321" actId="20577"/>
        <pc:sldMkLst>
          <pc:docMk/>
          <pc:sldMk cId="60774363" sldId="550"/>
        </pc:sldMkLst>
        <pc:spChg chg="mod">
          <ac:chgData name="Daniel Amores Alvarez" userId="S::damoresa@everis.com::ff5997fe-a964-45d1-b9c2-852633b5230a" providerId="AD" clId="Web-{66946E7E-D369-4415-BA61-A69B87E5B379}" dt="2020-01-13T12:20:44.330" v="321" actId="20577"/>
          <ac:spMkLst>
            <pc:docMk/>
            <pc:sldMk cId="60774363" sldId="550"/>
            <ac:spMk id="16" creationId="{6909A535-8C53-4A37-B3E0-FC6F7A28423E}"/>
          </ac:spMkLst>
        </pc:spChg>
        <pc:spChg chg="mod">
          <ac:chgData name="Daniel Amores Alvarez" userId="S::damoresa@everis.com::ff5997fe-a964-45d1-b9c2-852633b5230a" providerId="AD" clId="Web-{66946E7E-D369-4415-BA61-A69B87E5B379}" dt="2020-01-13T12:15:44.766" v="214" actId="20577"/>
          <ac:spMkLst>
            <pc:docMk/>
            <pc:sldMk cId="60774363" sldId="550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66946E7E-D369-4415-BA61-A69B87E5B379}" dt="2020-01-13T12:08:59.273" v="126" actId="20577"/>
        <pc:sldMkLst>
          <pc:docMk/>
          <pc:sldMk cId="4162823876" sldId="551"/>
        </pc:sldMkLst>
        <pc:spChg chg="mod">
          <ac:chgData name="Daniel Amores Alvarez" userId="S::damoresa@everis.com::ff5997fe-a964-45d1-b9c2-852633b5230a" providerId="AD" clId="Web-{66946E7E-D369-4415-BA61-A69B87E5B379}" dt="2020-01-13T12:08:59.273" v="126" actId="20577"/>
          <ac:spMkLst>
            <pc:docMk/>
            <pc:sldMk cId="4162823876" sldId="551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66946E7E-D369-4415-BA61-A69B87E5B379}" dt="2020-01-13T12:21:07.564" v="334" actId="20577"/>
        <pc:sldMkLst>
          <pc:docMk/>
          <pc:sldMk cId="1337246645" sldId="552"/>
        </pc:sldMkLst>
        <pc:spChg chg="mod">
          <ac:chgData name="Daniel Amores Alvarez" userId="S::damoresa@everis.com::ff5997fe-a964-45d1-b9c2-852633b5230a" providerId="AD" clId="Web-{66946E7E-D369-4415-BA61-A69B87E5B379}" dt="2020-01-13T12:21:07.564" v="334" actId="20577"/>
          <ac:spMkLst>
            <pc:docMk/>
            <pc:sldMk cId="1337246645" sldId="552"/>
            <ac:spMk id="16" creationId="{6909A535-8C53-4A37-B3E0-FC6F7A28423E}"/>
          </ac:spMkLst>
        </pc:spChg>
        <pc:spChg chg="mod">
          <ac:chgData name="Daniel Amores Alvarez" userId="S::damoresa@everis.com::ff5997fe-a964-45d1-b9c2-852633b5230a" providerId="AD" clId="Web-{66946E7E-D369-4415-BA61-A69B87E5B379}" dt="2020-01-13T12:16:08.891" v="256" actId="20577"/>
          <ac:spMkLst>
            <pc:docMk/>
            <pc:sldMk cId="1337246645" sldId="552"/>
            <ac:spMk id="46" creationId="{00000000-0000-0000-0000-000000000000}"/>
          </ac:spMkLst>
        </pc:spChg>
      </pc:sldChg>
      <pc:sldChg chg="add del replId">
        <pc:chgData name="Daniel Amores Alvarez" userId="S::damoresa@everis.com::ff5997fe-a964-45d1-b9c2-852633b5230a" providerId="AD" clId="Web-{66946E7E-D369-4415-BA61-A69B87E5B379}" dt="2020-01-13T12:15:51.641" v="219"/>
        <pc:sldMkLst>
          <pc:docMk/>
          <pc:sldMk cId="3249775528" sldId="552"/>
        </pc:sldMkLst>
      </pc:sldChg>
      <pc:sldChg chg="add del replId">
        <pc:chgData name="Daniel Amores Alvarez" userId="S::damoresa@everis.com::ff5997fe-a964-45d1-b9c2-852633b5230a" providerId="AD" clId="Web-{66946E7E-D369-4415-BA61-A69B87E5B379}" dt="2020-01-13T12:15:51.656" v="220"/>
        <pc:sldMkLst>
          <pc:docMk/>
          <pc:sldMk cId="183430687" sldId="553"/>
        </pc:sldMkLst>
      </pc:sldChg>
      <pc:sldChg chg="modSp add replId">
        <pc:chgData name="Daniel Amores Alvarez" userId="S::damoresa@everis.com::ff5997fe-a964-45d1-b9c2-852633b5230a" providerId="AD" clId="Web-{66946E7E-D369-4415-BA61-A69B87E5B379}" dt="2020-01-13T12:16:02.031" v="229" actId="20577"/>
        <pc:sldMkLst>
          <pc:docMk/>
          <pc:sldMk cId="3220759382" sldId="553"/>
        </pc:sldMkLst>
        <pc:spChg chg="mod">
          <ac:chgData name="Daniel Amores Alvarez" userId="S::damoresa@everis.com::ff5997fe-a964-45d1-b9c2-852633b5230a" providerId="AD" clId="Web-{66946E7E-D369-4415-BA61-A69B87E5B379}" dt="2020-01-13T12:16:02.031" v="229" actId="20577"/>
          <ac:spMkLst>
            <pc:docMk/>
            <pc:sldMk cId="3220759382" sldId="553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66946E7E-D369-4415-BA61-A69B87E5B379}" dt="2020-01-13T12:24:26.549" v="505" actId="20577"/>
        <pc:sldMkLst>
          <pc:docMk/>
          <pc:sldMk cId="480044214" sldId="554"/>
        </pc:sldMkLst>
        <pc:spChg chg="mod">
          <ac:chgData name="Daniel Amores Alvarez" userId="S::damoresa@everis.com::ff5997fe-a964-45d1-b9c2-852633b5230a" providerId="AD" clId="Web-{66946E7E-D369-4415-BA61-A69B87E5B379}" dt="2020-01-13T12:24:26.549" v="505" actId="20577"/>
          <ac:spMkLst>
            <pc:docMk/>
            <pc:sldMk cId="480044214" sldId="554"/>
            <ac:spMk id="16" creationId="{6909A535-8C53-4A37-B3E0-FC6F7A28423E}"/>
          </ac:spMkLst>
        </pc:spChg>
        <pc:spChg chg="mod">
          <ac:chgData name="Daniel Amores Alvarez" userId="S::damoresa@everis.com::ff5997fe-a964-45d1-b9c2-852633b5230a" providerId="AD" clId="Web-{66946E7E-D369-4415-BA61-A69B87E5B379}" dt="2020-01-13T12:21:28.267" v="382" actId="20577"/>
          <ac:spMkLst>
            <pc:docMk/>
            <pc:sldMk cId="480044214" sldId="554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66946E7E-D369-4415-BA61-A69B87E5B379}" dt="2020-01-13T12:21:22.548" v="359" actId="20577"/>
        <pc:sldMkLst>
          <pc:docMk/>
          <pc:sldMk cId="2761975210" sldId="555"/>
        </pc:sldMkLst>
        <pc:spChg chg="mod">
          <ac:chgData name="Daniel Amores Alvarez" userId="S::damoresa@everis.com::ff5997fe-a964-45d1-b9c2-852633b5230a" providerId="AD" clId="Web-{66946E7E-D369-4415-BA61-A69B87E5B379}" dt="2020-01-13T12:21:22.548" v="359" actId="20577"/>
          <ac:spMkLst>
            <pc:docMk/>
            <pc:sldMk cId="2761975210" sldId="555"/>
            <ac:spMk id="46" creationId="{00000000-0000-0000-0000-000000000000}"/>
          </ac:spMkLst>
        </pc:spChg>
      </pc:sldChg>
    </pc:docChg>
  </pc:docChgLst>
  <pc:docChgLst>
    <pc:chgData name="Daniel Amores Alvarez" userId="S::damoresa@everis.com::ff5997fe-a964-45d1-b9c2-852633b5230a" providerId="AD" clId="Web-{F52298E7-D596-40EA-849E-B07C5094B641}"/>
    <pc:docChg chg="addSld delSld modSld modSection">
      <pc:chgData name="Daniel Amores Alvarez" userId="S::damoresa@everis.com::ff5997fe-a964-45d1-b9c2-852633b5230a" providerId="AD" clId="Web-{F52298E7-D596-40EA-849E-B07C5094B641}" dt="2020-01-13T12:04:14.979" v="223"/>
      <pc:docMkLst>
        <pc:docMk/>
      </pc:docMkLst>
      <pc:sldChg chg="modSp">
        <pc:chgData name="Daniel Amores Alvarez" userId="S::damoresa@everis.com::ff5997fe-a964-45d1-b9c2-852633b5230a" providerId="AD" clId="Web-{F52298E7-D596-40EA-849E-B07C5094B641}" dt="2020-01-13T11:52:16.993" v="150" actId="20577"/>
        <pc:sldMkLst>
          <pc:docMk/>
          <pc:sldMk cId="924214621" sldId="266"/>
        </pc:sldMkLst>
        <pc:spChg chg="mod">
          <ac:chgData name="Daniel Amores Alvarez" userId="S::damoresa@everis.com::ff5997fe-a964-45d1-b9c2-852633b5230a" providerId="AD" clId="Web-{F52298E7-D596-40EA-849E-B07C5094B641}" dt="2020-01-13T11:52:16.993" v="150" actId="20577"/>
          <ac:spMkLst>
            <pc:docMk/>
            <pc:sldMk cId="924214621" sldId="266"/>
            <ac:spMk id="46" creationId="{00000000-0000-0000-0000-000000000000}"/>
          </ac:spMkLst>
        </pc:spChg>
      </pc:sldChg>
      <pc:sldChg chg="del">
        <pc:chgData name="Daniel Amores Alvarez" userId="S::damoresa@everis.com::ff5997fe-a964-45d1-b9c2-852633b5230a" providerId="AD" clId="Web-{F52298E7-D596-40EA-849E-B07C5094B641}" dt="2020-01-13T11:58:18.947" v="165"/>
        <pc:sldMkLst>
          <pc:docMk/>
          <pc:sldMk cId="1842254415" sldId="479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30.213" v="184"/>
        <pc:sldMkLst>
          <pc:docMk/>
          <pc:sldMk cId="1538420332" sldId="523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27.822" v="182"/>
        <pc:sldMkLst>
          <pc:docMk/>
          <pc:sldMk cId="2825012662" sldId="524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36.416" v="188"/>
        <pc:sldMkLst>
          <pc:docMk/>
          <pc:sldMk cId="2976379869" sldId="525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32.526" v="185"/>
        <pc:sldMkLst>
          <pc:docMk/>
          <pc:sldMk cId="1619765855" sldId="526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35.135" v="187"/>
        <pc:sldMkLst>
          <pc:docMk/>
          <pc:sldMk cId="2965529254" sldId="530"/>
        </pc:sldMkLst>
      </pc:sldChg>
      <pc:sldChg chg="delSp modSp">
        <pc:chgData name="Daniel Amores Alvarez" userId="S::damoresa@everis.com::ff5997fe-a964-45d1-b9c2-852633b5230a" providerId="AD" clId="Web-{F52298E7-D596-40EA-849E-B07C5094B641}" dt="2020-01-13T12:04:14.979" v="223"/>
        <pc:sldMkLst>
          <pc:docMk/>
          <pc:sldMk cId="616148466" sldId="531"/>
        </pc:sldMkLst>
        <pc:spChg chg="del">
          <ac:chgData name="Daniel Amores Alvarez" userId="S::damoresa@everis.com::ff5997fe-a964-45d1-b9c2-852633b5230a" providerId="AD" clId="Web-{F52298E7-D596-40EA-849E-B07C5094B641}" dt="2020-01-13T12:04:14.979" v="223"/>
          <ac:spMkLst>
            <pc:docMk/>
            <pc:sldMk cId="616148466" sldId="531"/>
            <ac:spMk id="14" creationId="{6CBD4B3D-78A9-46CF-B7B8-8C171B3F1943}"/>
          </ac:spMkLst>
        </pc:spChg>
        <pc:spChg chg="mod">
          <ac:chgData name="Daniel Amores Alvarez" userId="S::damoresa@everis.com::ff5997fe-a964-45d1-b9c2-852633b5230a" providerId="AD" clId="Web-{F52298E7-D596-40EA-849E-B07C5094B641}" dt="2020-01-13T12:03:37.464" v="207" actId="20577"/>
          <ac:spMkLst>
            <pc:docMk/>
            <pc:sldMk cId="616148466" sldId="531"/>
            <ac:spMk id="15" creationId="{7BD50C13-A712-406E-8E16-C9230DE49BA2}"/>
          </ac:spMkLst>
        </pc:spChg>
        <pc:spChg chg="mod">
          <ac:chgData name="Daniel Amores Alvarez" userId="S::damoresa@everis.com::ff5997fe-a964-45d1-b9c2-852633b5230a" providerId="AD" clId="Web-{F52298E7-D596-40EA-849E-B07C5094B641}" dt="2020-01-13T11:58:16.494" v="162" actId="20577"/>
          <ac:spMkLst>
            <pc:docMk/>
            <pc:sldMk cId="616148466" sldId="531"/>
            <ac:spMk id="46" creationId="{00000000-0000-0000-0000-000000000000}"/>
          </ac:spMkLst>
        </pc:spChg>
      </pc:sldChg>
      <pc:sldChg chg="del">
        <pc:chgData name="Daniel Amores Alvarez" userId="S::damoresa@everis.com::ff5997fe-a964-45d1-b9c2-852633b5230a" providerId="AD" clId="Web-{F52298E7-D596-40EA-849E-B07C5094B641}" dt="2020-01-13T11:59:41.041" v="190"/>
        <pc:sldMkLst>
          <pc:docMk/>
          <pc:sldMk cId="2267118212" sldId="532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34.011" v="186"/>
        <pc:sldMkLst>
          <pc:docMk/>
          <pc:sldMk cId="1251394239" sldId="533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28.963" v="183"/>
        <pc:sldMkLst>
          <pc:docMk/>
          <pc:sldMk cId="412082376" sldId="535"/>
        </pc:sldMkLst>
      </pc:sldChg>
      <pc:sldChg chg="del">
        <pc:chgData name="Daniel Amores Alvarez" userId="S::damoresa@everis.com::ff5997fe-a964-45d1-b9c2-852633b5230a" providerId="AD" clId="Web-{F52298E7-D596-40EA-849E-B07C5094B641}" dt="2020-01-13T12:03:48.667" v="212"/>
        <pc:sldMkLst>
          <pc:docMk/>
          <pc:sldMk cId="855522413" sldId="536"/>
        </pc:sldMkLst>
      </pc:sldChg>
      <pc:sldChg chg="delSp modSp add del replId">
        <pc:chgData name="Daniel Amores Alvarez" userId="S::damoresa@everis.com::ff5997fe-a964-45d1-b9c2-852633b5230a" providerId="AD" clId="Web-{F52298E7-D596-40EA-849E-B07C5094B641}" dt="2020-01-13T12:03:27.027" v="203"/>
        <pc:sldMkLst>
          <pc:docMk/>
          <pc:sldMk cId="3412149654" sldId="541"/>
        </pc:sldMkLst>
        <pc:spChg chg="mod">
          <ac:chgData name="Daniel Amores Alvarez" userId="S::damoresa@everis.com::ff5997fe-a964-45d1-b9c2-852633b5230a" providerId="AD" clId="Web-{F52298E7-D596-40EA-849E-B07C5094B641}" dt="2020-01-13T11:59:23.698" v="179" actId="20577"/>
          <ac:spMkLst>
            <pc:docMk/>
            <pc:sldMk cId="3412149654" sldId="541"/>
            <ac:spMk id="14" creationId="{6CBD4B3D-78A9-46CF-B7B8-8C171B3F1943}"/>
          </ac:spMkLst>
        </pc:spChg>
        <pc:spChg chg="del">
          <ac:chgData name="Daniel Amores Alvarez" userId="S::damoresa@everis.com::ff5997fe-a964-45d1-b9c2-852633b5230a" providerId="AD" clId="Web-{F52298E7-D596-40EA-849E-B07C5094B641}" dt="2020-01-13T12:03:26.151" v="202"/>
          <ac:spMkLst>
            <pc:docMk/>
            <pc:sldMk cId="3412149654" sldId="541"/>
            <ac:spMk id="15" creationId="{7BD50C13-A712-406E-8E16-C9230DE49BA2}"/>
          </ac:spMkLst>
        </pc:spChg>
      </pc:sldChg>
      <pc:sldChg chg="delSp add replId">
        <pc:chgData name="Daniel Amores Alvarez" userId="S::damoresa@everis.com::ff5997fe-a964-45d1-b9c2-852633b5230a" providerId="AD" clId="Web-{F52298E7-D596-40EA-849E-B07C5094B641}" dt="2020-01-13T12:03:22.229" v="201"/>
        <pc:sldMkLst>
          <pc:docMk/>
          <pc:sldMk cId="1791240125" sldId="542"/>
        </pc:sldMkLst>
        <pc:spChg chg="del">
          <ac:chgData name="Daniel Amores Alvarez" userId="S::damoresa@everis.com::ff5997fe-a964-45d1-b9c2-852633b5230a" providerId="AD" clId="Web-{F52298E7-D596-40EA-849E-B07C5094B641}" dt="2020-01-13T12:03:22.229" v="201"/>
          <ac:spMkLst>
            <pc:docMk/>
            <pc:sldMk cId="1791240125" sldId="542"/>
            <ac:spMk id="15" creationId="{7BD50C13-A712-406E-8E16-C9230DE49BA2}"/>
          </ac:spMkLst>
        </pc:spChg>
      </pc:sldChg>
      <pc:sldChg chg="delSp modSp add replId">
        <pc:chgData name="Daniel Amores Alvarez" userId="S::damoresa@everis.com::ff5997fe-a964-45d1-b9c2-852633b5230a" providerId="AD" clId="Web-{F52298E7-D596-40EA-849E-B07C5094B641}" dt="2020-01-13T12:04:13.401" v="222"/>
        <pc:sldMkLst>
          <pc:docMk/>
          <pc:sldMk cId="2086390204" sldId="543"/>
        </pc:sldMkLst>
        <pc:spChg chg="del">
          <ac:chgData name="Daniel Amores Alvarez" userId="S::damoresa@everis.com::ff5997fe-a964-45d1-b9c2-852633b5230a" providerId="AD" clId="Web-{F52298E7-D596-40EA-849E-B07C5094B641}" dt="2020-01-13T12:04:13.401" v="222"/>
          <ac:spMkLst>
            <pc:docMk/>
            <pc:sldMk cId="2086390204" sldId="543"/>
            <ac:spMk id="14" creationId="{6CBD4B3D-78A9-46CF-B7B8-8C171B3F1943}"/>
          </ac:spMkLst>
        </pc:spChg>
        <pc:spChg chg="mod">
          <ac:chgData name="Daniel Amores Alvarez" userId="S::damoresa@everis.com::ff5997fe-a964-45d1-b9c2-852633b5230a" providerId="AD" clId="Web-{F52298E7-D596-40EA-849E-B07C5094B641}" dt="2020-01-13T12:03:44.417" v="210" actId="20577"/>
          <ac:spMkLst>
            <pc:docMk/>
            <pc:sldMk cId="2086390204" sldId="543"/>
            <ac:spMk id="15" creationId="{7BD50C13-A712-406E-8E16-C9230DE49BA2}"/>
          </ac:spMkLst>
        </pc:spChg>
        <pc:spChg chg="mod">
          <ac:chgData name="Daniel Amores Alvarez" userId="S::damoresa@everis.com::ff5997fe-a964-45d1-b9c2-852633b5230a" providerId="AD" clId="Web-{F52298E7-D596-40EA-849E-B07C5094B641}" dt="2020-01-13T12:03:17.089" v="198" actId="20577"/>
          <ac:spMkLst>
            <pc:docMk/>
            <pc:sldMk cId="2086390204" sldId="543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F52298E7-D596-40EA-849E-B07C5094B641}" dt="2020-01-13T12:04:03.370" v="219" actId="20577"/>
        <pc:sldMkLst>
          <pc:docMk/>
          <pc:sldMk cId="1819518269" sldId="544"/>
        </pc:sldMkLst>
        <pc:spChg chg="mod">
          <ac:chgData name="Daniel Amores Alvarez" userId="S::damoresa@everis.com::ff5997fe-a964-45d1-b9c2-852633b5230a" providerId="AD" clId="Web-{F52298E7-D596-40EA-849E-B07C5094B641}" dt="2020-01-13T12:04:03.370" v="219" actId="20577"/>
          <ac:spMkLst>
            <pc:docMk/>
            <pc:sldMk cId="1819518269" sldId="544"/>
            <ac:spMk id="46" creationId="{00000000-0000-0000-0000-000000000000}"/>
          </ac:spMkLst>
        </pc:spChg>
      </pc:sldChg>
    </pc:docChg>
  </pc:docChgLst>
  <pc:docChgLst>
    <pc:chgData name="Daniel Amores Alvarez" userId="S::damoresa@everis.com::ff5997fe-a964-45d1-b9c2-852633b5230a" providerId="AD" clId="Web-{BB906ADF-AB14-4CF1-A6A5-B4D24E7860C2}"/>
    <pc:docChg chg="addSld modSld modSection">
      <pc:chgData name="Daniel Amores Alvarez" userId="S::damoresa@everis.com::ff5997fe-a964-45d1-b9c2-852633b5230a" providerId="AD" clId="Web-{BB906ADF-AB14-4CF1-A6A5-B4D24E7860C2}" dt="2020-01-15T11:43:37.602" v="5231" actId="1076"/>
      <pc:docMkLst>
        <pc:docMk/>
      </pc:docMkLst>
      <pc:sldChg chg="addSp modSp">
        <pc:chgData name="Daniel Amores Alvarez" userId="S::damoresa@everis.com::ff5997fe-a964-45d1-b9c2-852633b5230a" providerId="AD" clId="Web-{BB906ADF-AB14-4CF1-A6A5-B4D24E7860C2}" dt="2020-01-15T09:51:23.984" v="1508" actId="20577"/>
        <pc:sldMkLst>
          <pc:docMk/>
          <pc:sldMk cId="4162823876" sldId="551"/>
        </pc:sldMkLst>
        <pc:spChg chg="mod">
          <ac:chgData name="Daniel Amores Alvarez" userId="S::damoresa@everis.com::ff5997fe-a964-45d1-b9c2-852633b5230a" providerId="AD" clId="Web-{BB906ADF-AB14-4CF1-A6A5-B4D24E7860C2}" dt="2020-01-15T09:50:35.593" v="1434" actId="20577"/>
          <ac:spMkLst>
            <pc:docMk/>
            <pc:sldMk cId="4162823876" sldId="551"/>
            <ac:spMk id="2" creationId="{8624B431-4101-47F0-BB89-3368E781A537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09:50:13.811" v="1411" actId="20577"/>
          <ac:spMkLst>
            <pc:docMk/>
            <pc:sldMk cId="4162823876" sldId="551"/>
            <ac:spMk id="14" creationId="{DAACDC37-73F8-46F5-AA87-000E75188D38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09:51:23.984" v="1508" actId="20577"/>
          <ac:spMkLst>
            <pc:docMk/>
            <pc:sldMk cId="4162823876" sldId="551"/>
            <ac:spMk id="15" creationId="{7BD50C13-A712-406E-8E16-C9230DE49BA2}"/>
          </ac:spMkLst>
        </pc:spChg>
      </pc:sldChg>
      <pc:sldChg chg="modSp">
        <pc:chgData name="Daniel Amores Alvarez" userId="S::damoresa@everis.com::ff5997fe-a964-45d1-b9c2-852633b5230a" providerId="AD" clId="Web-{BB906ADF-AB14-4CF1-A6A5-B4D24E7860C2}" dt="2020-01-15T10:08:03.931" v="2696" actId="1076"/>
        <pc:sldMkLst>
          <pc:docMk/>
          <pc:sldMk cId="1337246645" sldId="552"/>
        </pc:sldMkLst>
        <pc:spChg chg="mod">
          <ac:chgData name="Daniel Amores Alvarez" userId="S::damoresa@everis.com::ff5997fe-a964-45d1-b9c2-852633b5230a" providerId="AD" clId="Web-{BB906ADF-AB14-4CF1-A6A5-B4D24E7860C2}" dt="2020-01-15T10:08:03.931" v="2696" actId="1076"/>
          <ac:spMkLst>
            <pc:docMk/>
            <pc:sldMk cId="1337246645" sldId="552"/>
            <ac:spMk id="16" creationId="{6909A535-8C53-4A37-B3E0-FC6F7A28423E}"/>
          </ac:spMkLst>
        </pc:spChg>
      </pc:sldChg>
      <pc:sldChg chg="addSp modSp">
        <pc:chgData name="Daniel Amores Alvarez" userId="S::damoresa@everis.com::ff5997fe-a964-45d1-b9c2-852633b5230a" providerId="AD" clId="Web-{BB906ADF-AB14-4CF1-A6A5-B4D24E7860C2}" dt="2020-01-15T10:59:36.416" v="3412" actId="1076"/>
        <pc:sldMkLst>
          <pc:docMk/>
          <pc:sldMk cId="3220759382" sldId="553"/>
        </pc:sldMkLst>
        <pc:spChg chg="mod">
          <ac:chgData name="Daniel Amores Alvarez" userId="S::damoresa@everis.com::ff5997fe-a964-45d1-b9c2-852633b5230a" providerId="AD" clId="Web-{BB906ADF-AB14-4CF1-A6A5-B4D24E7860C2}" dt="2020-01-15T10:58:30.182" v="3405" actId="14100"/>
          <ac:spMkLst>
            <pc:docMk/>
            <pc:sldMk cId="3220759382" sldId="553"/>
            <ac:spMk id="15" creationId="{7BD50C13-A712-406E-8E16-C9230DE49BA2}"/>
          </ac:spMkLst>
        </pc:spChg>
        <pc:picChg chg="add mod ord">
          <ac:chgData name="Daniel Amores Alvarez" userId="S::damoresa@everis.com::ff5997fe-a964-45d1-b9c2-852633b5230a" providerId="AD" clId="Web-{BB906ADF-AB14-4CF1-A6A5-B4D24E7860C2}" dt="2020-01-15T10:59:36.416" v="3412" actId="1076"/>
          <ac:picMkLst>
            <pc:docMk/>
            <pc:sldMk cId="3220759382" sldId="553"/>
            <ac:picMk id="2" creationId="{8ECDBB95-644A-4FEE-B1A9-34E8E408442E}"/>
          </ac:picMkLst>
        </pc:picChg>
      </pc:sldChg>
      <pc:sldChg chg="modSp">
        <pc:chgData name="Daniel Amores Alvarez" userId="S::damoresa@everis.com::ff5997fe-a964-45d1-b9c2-852633b5230a" providerId="AD" clId="Web-{BB906ADF-AB14-4CF1-A6A5-B4D24E7860C2}" dt="2020-01-15T11:05:42.901" v="4005" actId="20577"/>
        <pc:sldMkLst>
          <pc:docMk/>
          <pc:sldMk cId="2761975210" sldId="555"/>
        </pc:sldMkLst>
        <pc:spChg chg="mod">
          <ac:chgData name="Daniel Amores Alvarez" userId="S::damoresa@everis.com::ff5997fe-a964-45d1-b9c2-852633b5230a" providerId="AD" clId="Web-{BB906ADF-AB14-4CF1-A6A5-B4D24E7860C2}" dt="2020-01-15T11:05:42.901" v="4005" actId="20577"/>
          <ac:spMkLst>
            <pc:docMk/>
            <pc:sldMk cId="2761975210" sldId="555"/>
            <ac:spMk id="15" creationId="{7BD50C13-A712-406E-8E16-C9230DE49BA2}"/>
          </ac:spMkLst>
        </pc:spChg>
      </pc:sldChg>
      <pc:sldChg chg="modSp">
        <pc:chgData name="Daniel Amores Alvarez" userId="S::damoresa@everis.com::ff5997fe-a964-45d1-b9c2-852633b5230a" providerId="AD" clId="Web-{BB906ADF-AB14-4CF1-A6A5-B4D24E7860C2}" dt="2020-01-15T09:57:23.111" v="2002" actId="20577"/>
        <pc:sldMkLst>
          <pc:docMk/>
          <pc:sldMk cId="2728398026" sldId="556"/>
        </pc:sldMkLst>
        <pc:spChg chg="mod">
          <ac:chgData name="Daniel Amores Alvarez" userId="S::damoresa@everis.com::ff5997fe-a964-45d1-b9c2-852633b5230a" providerId="AD" clId="Web-{BB906ADF-AB14-4CF1-A6A5-B4D24E7860C2}" dt="2020-01-15T09:57:23.111" v="2002" actId="20577"/>
          <ac:spMkLst>
            <pc:docMk/>
            <pc:sldMk cId="2728398026" sldId="556"/>
            <ac:spMk id="15" creationId="{7BD50C13-A712-406E-8E16-C9230DE49BA2}"/>
          </ac:spMkLst>
        </pc:spChg>
      </pc:sldChg>
      <pc:sldChg chg="addSp delSp modSp add replId">
        <pc:chgData name="Daniel Amores Alvarez" userId="S::damoresa@everis.com::ff5997fe-a964-45d1-b9c2-852633b5230a" providerId="AD" clId="Web-{BB906ADF-AB14-4CF1-A6A5-B4D24E7860C2}" dt="2020-01-15T09:51:50.953" v="1534" actId="20577"/>
        <pc:sldMkLst>
          <pc:docMk/>
          <pc:sldMk cId="3125120265" sldId="557"/>
        </pc:sldMkLst>
        <pc:spChg chg="mod">
          <ac:chgData name="Daniel Amores Alvarez" userId="S::damoresa@everis.com::ff5997fe-a964-45d1-b9c2-852633b5230a" providerId="AD" clId="Web-{BB906ADF-AB14-4CF1-A6A5-B4D24E7860C2}" dt="2020-01-15T09:51:50.953" v="1534" actId="20577"/>
          <ac:spMkLst>
            <pc:docMk/>
            <pc:sldMk cId="3125120265" sldId="557"/>
            <ac:spMk id="2" creationId="{8624B431-4101-47F0-BB89-3368E781A537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09:47:17.685" v="1273" actId="14100"/>
          <ac:spMkLst>
            <pc:docMk/>
            <pc:sldMk cId="3125120265" sldId="557"/>
            <ac:spMk id="14" creationId="{DAACDC37-73F8-46F5-AA87-000E75188D38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09:46:11.638" v="1253" actId="20577"/>
          <ac:spMkLst>
            <pc:docMk/>
            <pc:sldMk cId="3125120265" sldId="557"/>
            <ac:spMk id="15" creationId="{7BD50C13-A712-406E-8E16-C9230DE49BA2}"/>
          </ac:spMkLst>
        </pc:spChg>
        <pc:spChg chg="add del mod">
          <ac:chgData name="Daniel Amores Alvarez" userId="S::damoresa@everis.com::ff5997fe-a964-45d1-b9c2-852633b5230a" providerId="AD" clId="Web-{BB906ADF-AB14-4CF1-A6A5-B4D24E7860C2}" dt="2020-01-15T09:47:05.873" v="1267"/>
          <ac:spMkLst>
            <pc:docMk/>
            <pc:sldMk cId="3125120265" sldId="557"/>
            <ac:spMk id="16" creationId="{368C45F2-FC25-41EB-B3C7-0A724F9C2DFE}"/>
          </ac:spMkLst>
        </pc:spChg>
      </pc:sldChg>
      <pc:sldChg chg="addSp delSp modSp add replId">
        <pc:chgData name="Daniel Amores Alvarez" userId="S::damoresa@everis.com::ff5997fe-a964-45d1-b9c2-852633b5230a" providerId="AD" clId="Web-{BB906ADF-AB14-4CF1-A6A5-B4D24E7860C2}" dt="2020-01-15T09:52:05.672" v="1585" actId="20577"/>
        <pc:sldMkLst>
          <pc:docMk/>
          <pc:sldMk cId="1876975774" sldId="558"/>
        </pc:sldMkLst>
        <pc:spChg chg="mod">
          <ac:chgData name="Daniel Amores Alvarez" userId="S::damoresa@everis.com::ff5997fe-a964-45d1-b9c2-852633b5230a" providerId="AD" clId="Web-{BB906ADF-AB14-4CF1-A6A5-B4D24E7860C2}" dt="2020-01-15T09:52:05.672" v="1585" actId="20577"/>
          <ac:spMkLst>
            <pc:docMk/>
            <pc:sldMk cId="1876975774" sldId="558"/>
            <ac:spMk id="2" creationId="{8624B431-4101-47F0-BB89-3368E781A537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09:49:55.749" v="1409" actId="20577"/>
          <ac:spMkLst>
            <pc:docMk/>
            <pc:sldMk cId="1876975774" sldId="558"/>
            <ac:spMk id="14" creationId="{DAACDC37-73F8-46F5-AA87-000E75188D38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09:48:31.451" v="1336" actId="14100"/>
          <ac:spMkLst>
            <pc:docMk/>
            <pc:sldMk cId="1876975774" sldId="558"/>
            <ac:spMk id="15" creationId="{7BD50C13-A712-406E-8E16-C9230DE49BA2}"/>
          </ac:spMkLst>
        </pc:spChg>
        <pc:spChg chg="add del mod">
          <ac:chgData name="Daniel Amores Alvarez" userId="S::damoresa@everis.com::ff5997fe-a964-45d1-b9c2-852633b5230a" providerId="AD" clId="Web-{BB906ADF-AB14-4CF1-A6A5-B4D24E7860C2}" dt="2020-01-15T09:48:26.779" v="1335"/>
          <ac:spMkLst>
            <pc:docMk/>
            <pc:sldMk cId="1876975774" sldId="558"/>
            <ac:spMk id="16" creationId="{AB7026BC-8151-4963-AA7C-2AF9982C22FB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09:49:29.983" v="1404" actId="20577"/>
          <ac:spMkLst>
            <pc:docMk/>
            <pc:sldMk cId="1876975774" sldId="558"/>
            <ac:spMk id="17" creationId="{D0797FC4-8B12-409D-8E36-303AC50FA04B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09:49:04.905" v="1347" actId="14100"/>
          <ac:spMkLst>
            <pc:docMk/>
            <pc:sldMk cId="1876975774" sldId="558"/>
            <ac:spMk id="18" creationId="{5E880823-0343-407D-AF9E-5BB5AC3C6F1F}"/>
          </ac:spMkLst>
        </pc:spChg>
      </pc:sldChg>
      <pc:sldChg chg="modSp add replId">
        <pc:chgData name="Daniel Amores Alvarez" userId="S::damoresa@everis.com::ff5997fe-a964-45d1-b9c2-852633b5230a" providerId="AD" clId="Web-{BB906ADF-AB14-4CF1-A6A5-B4D24E7860C2}" dt="2020-01-15T10:57:58.463" v="3403" actId="20577"/>
        <pc:sldMkLst>
          <pc:docMk/>
          <pc:sldMk cId="1979380824" sldId="559"/>
        </pc:sldMkLst>
        <pc:spChg chg="mod">
          <ac:chgData name="Daniel Amores Alvarez" userId="S::damoresa@everis.com::ff5997fe-a964-45d1-b9c2-852633b5230a" providerId="AD" clId="Web-{BB906ADF-AB14-4CF1-A6A5-B4D24E7860C2}" dt="2020-01-15T10:57:58.463" v="3403" actId="20577"/>
          <ac:spMkLst>
            <pc:docMk/>
            <pc:sldMk cId="1979380824" sldId="559"/>
            <ac:spMk id="15" creationId="{7BD50C13-A712-406E-8E16-C9230DE49BA2}"/>
          </ac:spMkLst>
        </pc:spChg>
      </pc:sldChg>
      <pc:sldChg chg="addSp modSp add replId">
        <pc:chgData name="Daniel Amores Alvarez" userId="S::damoresa@everis.com::ff5997fe-a964-45d1-b9c2-852633b5230a" providerId="AD" clId="Web-{BB906ADF-AB14-4CF1-A6A5-B4D24E7860C2}" dt="2020-01-15T11:43:37.602" v="5231" actId="1076"/>
        <pc:sldMkLst>
          <pc:docMk/>
          <pc:sldMk cId="1849465173" sldId="560"/>
        </pc:sldMkLst>
        <pc:spChg chg="add mod">
          <ac:chgData name="Daniel Amores Alvarez" userId="S::damoresa@everis.com::ff5997fe-a964-45d1-b9c2-852633b5230a" providerId="AD" clId="Web-{BB906ADF-AB14-4CF1-A6A5-B4D24E7860C2}" dt="2020-01-15T11:07:57.725" v="4183" actId="20577"/>
          <ac:spMkLst>
            <pc:docMk/>
            <pc:sldMk cId="1849465173" sldId="560"/>
            <ac:spMk id="4" creationId="{7039B450-479A-48D0-9400-AA1DA78223AB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11:42:20.570" v="5178" actId="20577"/>
          <ac:spMkLst>
            <pc:docMk/>
            <pc:sldMk cId="1849465173" sldId="560"/>
            <ac:spMk id="15" creationId="{7BD50C13-A712-406E-8E16-C9230DE49BA2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11:43:37.602" v="5231" actId="1076"/>
          <ac:spMkLst>
            <pc:docMk/>
            <pc:sldMk cId="1849465173" sldId="560"/>
            <ac:spMk id="17" creationId="{B28DACAC-C5B4-4FA2-9AE3-A474659D6BE1}"/>
          </ac:spMkLst>
        </pc:spChg>
        <pc:picChg chg="add mod">
          <ac:chgData name="Daniel Amores Alvarez" userId="S::damoresa@everis.com::ff5997fe-a964-45d1-b9c2-852633b5230a" providerId="AD" clId="Web-{BB906ADF-AB14-4CF1-A6A5-B4D24E7860C2}" dt="2020-01-15T11:33:05.664" v="4778" actId="1076"/>
          <ac:picMkLst>
            <pc:docMk/>
            <pc:sldMk cId="1849465173" sldId="560"/>
            <ac:picMk id="2" creationId="{7F55F897-ECF8-46CD-882C-45FF74FBAEBA}"/>
          </ac:picMkLst>
        </pc:picChg>
      </pc:sldChg>
      <pc:sldChg chg="addSp delSp modSp add replId">
        <pc:chgData name="Daniel Amores Alvarez" userId="S::damoresa@everis.com::ff5997fe-a964-45d1-b9c2-852633b5230a" providerId="AD" clId="Web-{BB906ADF-AB14-4CF1-A6A5-B4D24E7860C2}" dt="2020-01-15T11:32:36.695" v="4773" actId="20577"/>
        <pc:sldMkLst>
          <pc:docMk/>
          <pc:sldMk cId="2378695879" sldId="561"/>
        </pc:sldMkLst>
        <pc:spChg chg="add del mod">
          <ac:chgData name="Daniel Amores Alvarez" userId="S::damoresa@everis.com::ff5997fe-a964-45d1-b9c2-852633b5230a" providerId="AD" clId="Web-{BB906ADF-AB14-4CF1-A6A5-B4D24E7860C2}" dt="2020-01-15T11:23:45.054" v="4436"/>
          <ac:spMkLst>
            <pc:docMk/>
            <pc:sldMk cId="2378695879" sldId="561"/>
            <ac:spMk id="3" creationId="{DA17C332-365B-4222-AE3A-6B6148E65548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11:26:18.460" v="4581" actId="20577"/>
          <ac:spMkLst>
            <pc:docMk/>
            <pc:sldMk cId="2378695879" sldId="561"/>
            <ac:spMk id="5" creationId="{6F6BF734-4BF5-40CC-996E-E26F70A04B0A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11:25:25.804" v="4487" actId="20577"/>
          <ac:spMkLst>
            <pc:docMk/>
            <pc:sldMk cId="2378695879" sldId="561"/>
            <ac:spMk id="7" creationId="{22E21FF4-5B34-4EBC-9C72-A062D754DE6E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11:32:36.695" v="4773" actId="20577"/>
          <ac:spMkLst>
            <pc:docMk/>
            <pc:sldMk cId="2378695879" sldId="561"/>
            <ac:spMk id="8" creationId="{93105E4B-6DA7-4CFA-8164-A8D48B445BA4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11:25:31.601" v="4497" actId="20577"/>
          <ac:spMkLst>
            <pc:docMk/>
            <pc:sldMk cId="2378695879" sldId="561"/>
            <ac:spMk id="9" creationId="{DC1B2ADF-5902-43F8-AB17-7A5E9D974193}"/>
          </ac:spMkLst>
        </pc:spChg>
        <pc:spChg chg="del mod">
          <ac:chgData name="Daniel Amores Alvarez" userId="S::damoresa@everis.com::ff5997fe-a964-45d1-b9c2-852633b5230a" providerId="AD" clId="Web-{BB906ADF-AB14-4CF1-A6A5-B4D24E7860C2}" dt="2020-01-15T11:23:46.429" v="4438"/>
          <ac:spMkLst>
            <pc:docMk/>
            <pc:sldMk cId="2378695879" sldId="561"/>
            <ac:spMk id="15" creationId="{7BD50C13-A712-406E-8E16-C9230DE49BA2}"/>
          </ac:spMkLst>
        </pc:spChg>
        <pc:spChg chg="add del mod">
          <ac:chgData name="Daniel Amores Alvarez" userId="S::damoresa@everis.com::ff5997fe-a964-45d1-b9c2-852633b5230a" providerId="AD" clId="Web-{BB906ADF-AB14-4CF1-A6A5-B4D24E7860C2}" dt="2020-01-15T11:23:45.725" v="4437"/>
          <ac:spMkLst>
            <pc:docMk/>
            <pc:sldMk cId="2378695879" sldId="561"/>
            <ac:spMk id="17" creationId="{30D42031-251F-49E8-88FF-4D29FD55624B}"/>
          </ac:spMkLst>
        </pc:spChg>
        <pc:picChg chg="del">
          <ac:chgData name="Daniel Amores Alvarez" userId="S::damoresa@everis.com::ff5997fe-a964-45d1-b9c2-852633b5230a" providerId="AD" clId="Web-{BB906ADF-AB14-4CF1-A6A5-B4D24E7860C2}" dt="2020-01-15T11:22:01.522" v="4417"/>
          <ac:picMkLst>
            <pc:docMk/>
            <pc:sldMk cId="2378695879" sldId="561"/>
            <ac:picMk id="2" creationId="{7F55F897-ECF8-46CD-882C-45FF74FBAEBA}"/>
          </ac:picMkLst>
        </pc:picChg>
      </pc:sldChg>
      <pc:sldChg chg="modSp add replId">
        <pc:chgData name="Daniel Amores Alvarez" userId="S::damoresa@everis.com::ff5997fe-a964-45d1-b9c2-852633b5230a" providerId="AD" clId="Web-{BB906ADF-AB14-4CF1-A6A5-B4D24E7860C2}" dt="2020-01-15T11:32:32.601" v="4768" actId="20577"/>
        <pc:sldMkLst>
          <pc:docMk/>
          <pc:sldMk cId="3524603006" sldId="562"/>
        </pc:sldMkLst>
        <pc:spChg chg="mod">
          <ac:chgData name="Daniel Amores Alvarez" userId="S::damoresa@everis.com::ff5997fe-a964-45d1-b9c2-852633b5230a" providerId="AD" clId="Web-{BB906ADF-AB14-4CF1-A6A5-B4D24E7860C2}" dt="2020-01-15T11:32:32.601" v="4768" actId="20577"/>
          <ac:spMkLst>
            <pc:docMk/>
            <pc:sldMk cId="3524603006" sldId="562"/>
            <ac:spMk id="5" creationId="{6F6BF734-4BF5-40CC-996E-E26F70A04B0A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11:28:35.741" v="4599" actId="20577"/>
          <ac:spMkLst>
            <pc:docMk/>
            <pc:sldMk cId="3524603006" sldId="562"/>
            <ac:spMk id="7" creationId="{22E21FF4-5B34-4EBC-9C72-A062D754DE6E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11:29:48.585" v="4639" actId="20577"/>
          <ac:spMkLst>
            <pc:docMk/>
            <pc:sldMk cId="3524603006" sldId="562"/>
            <ac:spMk id="8" creationId="{93105E4B-6DA7-4CFA-8164-A8D48B445BA4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11:27:04.398" v="4593" actId="20577"/>
          <ac:spMkLst>
            <pc:docMk/>
            <pc:sldMk cId="3524603006" sldId="562"/>
            <ac:spMk id="9" creationId="{DC1B2ADF-5902-43F8-AB17-7A5E9D974193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265EC47D-F3F0-FE4C-87DA-4B8010FBB22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566394F9-32F8-A745-B77F-05512D5B3BE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1642C1-5374-684E-8E78-A607436C7FB6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3111FF-95A1-854C-89EE-287415AF546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AA1AE5D9-2AC3-804C-8CB6-C87D3A1C589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D7F1C2-1D80-D342-86FB-F6A0D329ACD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706898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40C02-C639-4C32-B791-20C4E12FD2D8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CAB200-DB0D-4364-B1E6-7086E9FDF12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226226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92966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es-ES" sz="12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798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es-ES" sz="12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45759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214345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163218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657501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755460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485737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es-ES" sz="12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742969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1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427792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478909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152437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es-ES" sz="12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57166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2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776792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928076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2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9590951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6767159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395154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2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1226804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40232203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077711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992542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es-ES" sz="12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02738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808949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663579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496883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23811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58853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832558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690638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0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08501" y="173125"/>
            <a:ext cx="1056112" cy="603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" name="Objeto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6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1" name="Objeto 2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1568610" y="6291094"/>
            <a:ext cx="459316" cy="627405"/>
          </a:xfrm>
          <a:prstGeom prst="rect">
            <a:avLst/>
          </a:prstGeom>
          <a:ln w="3175">
            <a:miter lim="400000"/>
          </a:ln>
        </p:spPr>
        <p:txBody>
          <a:bodyPr lIns="26125" tIns="26125" rIns="26125" bIns="26125" anchor="ctr">
            <a:spAutoFit/>
          </a:bodyPr>
          <a:lstStyle>
            <a:lvl1pPr algn="r" defTabSz="825500">
              <a:defRPr sz="14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5pPr>
            <a:lvl6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6pPr>
            <a:lvl7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7pPr>
            <a:lvl8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8pPr>
            <a:lvl9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E60061AB-E3E3-4B82-98B1-945D99ABF5FB}" type="slidenum">
              <a:rPr lang="es-ES" sz="1867" smtClean="0"/>
              <a:pPr/>
              <a:t>‹Nº›</a:t>
            </a:fld>
            <a:endParaRPr lang="es-ES" sz="1867"/>
          </a:p>
        </p:txBody>
      </p:sp>
    </p:spTree>
    <p:extLst>
      <p:ext uri="{BB962C8B-B14F-4D97-AF65-F5344CB8AC3E}">
        <p14:creationId xmlns:p14="http://schemas.microsoft.com/office/powerpoint/2010/main" val="475659580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4"/>
          <p:cNvSpPr/>
          <p:nvPr userDrawn="1"/>
        </p:nvSpPr>
        <p:spPr>
          <a:xfrm>
            <a:off x="11658323" y="6475790"/>
            <a:ext cx="388561" cy="2914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rgbClr val="B5B5B5"/>
            </a:solidFill>
            <a:custDash>
              <a:ds d="100000" sp="200000"/>
            </a:custDash>
            <a:round/>
          </a:ln>
        </p:spPr>
        <p:txBody>
          <a:bodyPr lIns="0" tIns="0" rIns="0" bIns="0" anchor="ctr"/>
          <a:lstStyle/>
          <a:p>
            <a:endParaRPr sz="899">
              <a:solidFill>
                <a:srgbClr val="96969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hape 93"/>
          <p:cNvSpPr/>
          <p:nvPr userDrawn="1"/>
        </p:nvSpPr>
        <p:spPr>
          <a:xfrm flipV="1">
            <a:off x="972107" y="-1"/>
            <a:ext cx="1" cy="736049"/>
          </a:xfrm>
          <a:prstGeom prst="line">
            <a:avLst/>
          </a:prstGeom>
          <a:noFill/>
          <a:ln w="12700" cap="flat">
            <a:solidFill>
              <a:srgbClr val="FFFFFF"/>
            </a:solidFill>
            <a:prstDash val="sysDot"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pPr lvl="0" algn="l" defTabSz="456695">
              <a:defRPr sz="600">
                <a:latin typeface="+mj-lt"/>
                <a:ea typeface="+mj-ea"/>
                <a:cs typeface="+mj-cs"/>
                <a:sym typeface="Helvetica"/>
              </a:defRPr>
            </a:pPr>
            <a:endParaRPr sz="599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537524" y="6498391"/>
            <a:ext cx="505464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0061AB-E3E3-4B82-98B1-945D99ABF5FB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2033153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320990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432715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196058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97504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90275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630763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614584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88828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1466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Entrada manual"/>
          <p:cNvSpPr/>
          <p:nvPr/>
        </p:nvSpPr>
        <p:spPr>
          <a:xfrm flipH="1">
            <a:off x="0" y="803614"/>
            <a:ext cx="9914082" cy="4963059"/>
          </a:xfrm>
          <a:prstGeom prst="flowChartManualInput">
            <a:avLst/>
          </a:prstGeom>
          <a:solidFill>
            <a:srgbClr val="537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899" dirty="0">
              <a:latin typeface="Century Gothic" panose="020B0502020202020204" pitchFamily="34" charset="0"/>
            </a:endParaRPr>
          </a:p>
        </p:txBody>
      </p:sp>
      <p:sp>
        <p:nvSpPr>
          <p:cNvPr id="11" name="10 Rectángulo"/>
          <p:cNvSpPr/>
          <p:nvPr/>
        </p:nvSpPr>
        <p:spPr>
          <a:xfrm>
            <a:off x="868719" y="5041408"/>
            <a:ext cx="1755609" cy="330860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r>
              <a:rPr lang="en-US" sz="1550" dirty="0">
                <a:solidFill>
                  <a:schemeClr val="bg1"/>
                </a:solidFill>
                <a:latin typeface="Century Gothic"/>
                <a:ea typeface="Helvetica Neue Thin" charset="0"/>
                <a:cs typeface="Helvetica Neue Thin" charset="0"/>
              </a:rPr>
              <a:t>September 2020</a:t>
            </a:r>
            <a:endParaRPr lang="en-US" sz="1598" dirty="0">
              <a:solidFill>
                <a:schemeClr val="bg1"/>
              </a:solidFill>
              <a:latin typeface="Century Gothic" panose="020B0502020202020204" pitchFamily="34" charset="0"/>
              <a:ea typeface="Helvetica Neue Thin" charset="0"/>
              <a:cs typeface="Helvetica Neue Thin" charset="0"/>
            </a:endParaRPr>
          </a:p>
        </p:txBody>
      </p:sp>
      <p:cxnSp>
        <p:nvCxnSpPr>
          <p:cNvPr id="14" name="13 Conector recto"/>
          <p:cNvCxnSpPr/>
          <p:nvPr/>
        </p:nvCxnSpPr>
        <p:spPr>
          <a:xfrm>
            <a:off x="858422" y="5509741"/>
            <a:ext cx="244529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4 Conector recto"/>
          <p:cNvCxnSpPr/>
          <p:nvPr/>
        </p:nvCxnSpPr>
        <p:spPr>
          <a:xfrm>
            <a:off x="858422" y="4899998"/>
            <a:ext cx="244529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4 Rectángulo"/>
          <p:cNvSpPr/>
          <p:nvPr/>
        </p:nvSpPr>
        <p:spPr>
          <a:xfrm>
            <a:off x="733300" y="1675882"/>
            <a:ext cx="6800502" cy="120032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Helvetica Neue UltraLight" charset="0"/>
                <a:cs typeface="Helvetica Neue UltraLight" charset="0"/>
              </a:rPr>
              <a:t>JSNSD</a:t>
            </a:r>
          </a:p>
          <a:p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Helvetica Neue UltraLight" charset="0"/>
                <a:cs typeface="Helvetica Neue UltraLight" charset="0"/>
              </a:rPr>
              <a:t>OpenJS Node.js services developer</a:t>
            </a:r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 rot="325252">
            <a:off x="3112607" y="801484"/>
            <a:ext cx="9180000" cy="7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4 Rectángulo">
            <a:extLst>
              <a:ext uri="{FF2B5EF4-FFF2-40B4-BE49-F238E27FC236}">
                <a16:creationId xmlns:a16="http://schemas.microsoft.com/office/drawing/2014/main" id="{C0FD4F4F-0130-4D9C-8FD2-DC97ED6CEC02}"/>
              </a:ext>
            </a:extLst>
          </p:cNvPr>
          <p:cNvSpPr/>
          <p:nvPr/>
        </p:nvSpPr>
        <p:spPr>
          <a:xfrm>
            <a:off x="733300" y="3409578"/>
            <a:ext cx="68005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Helvetica Neue UltraLight" charset="0"/>
                <a:cs typeface="Helvetica Neue UltraLight" charset="0"/>
              </a:rPr>
              <a:t>Express</a:t>
            </a:r>
          </a:p>
        </p:txBody>
      </p:sp>
      <p:sp>
        <p:nvSpPr>
          <p:cNvPr id="34" name="Rectángulo 33"/>
          <p:cNvSpPr/>
          <p:nvPr/>
        </p:nvSpPr>
        <p:spPr>
          <a:xfrm rot="325252">
            <a:off x="-58662" y="650535"/>
            <a:ext cx="12364709" cy="7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image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912" y="252275"/>
            <a:ext cx="1757316" cy="931815"/>
          </a:xfrm>
          <a:prstGeom prst="rect">
            <a:avLst/>
          </a:prstGeom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7106" name="Picture 2">
            <a:extLst>
              <a:ext uri="{FF2B5EF4-FFF2-40B4-BE49-F238E27FC236}">
                <a16:creationId xmlns:a16="http://schemas.microsoft.com/office/drawing/2014/main" id="{080FAB76-7BAE-554C-BB22-08C731E37B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955" y="1485470"/>
            <a:ext cx="4589273" cy="458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88576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Handlers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It is a good practice to keep </a:t>
            </a:r>
            <a:r>
              <a:rPr lang="en-US" sz="2000" i="1" dirty="0">
                <a:latin typeface="Century Gothic"/>
              </a:rPr>
              <a:t>handlers </a:t>
            </a:r>
            <a:r>
              <a:rPr lang="en-US" sz="2000" dirty="0">
                <a:latin typeface="Century Gothic"/>
              </a:rPr>
              <a:t>as simple as possible and bound to a single </a:t>
            </a:r>
            <a:r>
              <a:rPr lang="en-US" sz="2000" i="1" dirty="0">
                <a:latin typeface="Century Gothic"/>
              </a:rPr>
              <a:t>HTTP verb – path</a:t>
            </a:r>
            <a:r>
              <a:rPr lang="en-US" sz="2000" dirty="0">
                <a:latin typeface="Century Gothic"/>
              </a:rPr>
              <a:t>, unless they are </a:t>
            </a:r>
            <a:r>
              <a:rPr lang="en-US" sz="2000" i="1" dirty="0">
                <a:latin typeface="Century Gothic"/>
              </a:rPr>
              <a:t>middlewares</a:t>
            </a:r>
            <a:r>
              <a:rPr lang="en-US" sz="2000" dirty="0">
                <a:latin typeface="Century Gothic"/>
              </a:rPr>
              <a:t> of course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Note</a:t>
            </a:r>
            <a:r>
              <a:rPr lang="en-US" sz="2000" dirty="0">
                <a:latin typeface="Century Gothic"/>
              </a:rPr>
              <a:t>: on my personal experience, modularization and codebase maintenance are not evaluated on the exam, so you can resort to single-file solutions to avoid spending time designing the solution or implementing module boilerplate.</a:t>
            </a:r>
            <a:endParaRPr lang="en-US" sz="2000" b="1" dirty="0">
              <a:latin typeface="Century Gothic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493110C8-4BFE-F248-BD91-AB62ECFD278E}"/>
              </a:ext>
            </a:extLst>
          </p:cNvPr>
          <p:cNvSpPr/>
          <p:nvPr/>
        </p:nvSpPr>
        <p:spPr>
          <a:xfrm>
            <a:off x="582393" y="2302522"/>
            <a:ext cx="5267564" cy="297455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const app = express(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Anonymous request handlers, hard to test &amp; maintain</a:t>
            </a:r>
          </a:p>
          <a:p>
            <a:r>
              <a:rPr lang="en-US" sz="1200" dirty="0">
                <a:latin typeface="Consolas"/>
                <a:cs typeface="Calibri"/>
              </a:rPr>
              <a:t>app.get(‘/users/’, (req, res) =&gt; { ... });</a:t>
            </a:r>
          </a:p>
          <a:p>
            <a:r>
              <a:rPr lang="en-US" sz="1200" dirty="0">
                <a:latin typeface="Consolas"/>
                <a:cs typeface="Calibri"/>
              </a:rPr>
              <a:t>app.post(‘/users/’, (req, res) =&gt; { ... });</a:t>
            </a:r>
          </a:p>
          <a:p>
            <a:r>
              <a:rPr lang="en-US" sz="1200" dirty="0">
                <a:latin typeface="Consolas"/>
                <a:cs typeface="Calibri"/>
              </a:rPr>
              <a:t>app.put(‘/users/:id’, (req, res) =&gt; { ... });</a:t>
            </a:r>
          </a:p>
          <a:p>
            <a:r>
              <a:rPr lang="en-US" sz="1200" dirty="0">
                <a:latin typeface="Consolas"/>
                <a:cs typeface="Calibri"/>
              </a:rPr>
              <a:t>app.delete(‘/users/:id’, (req, res) =&gt; { ... }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Named controller, better than anonymous but not perfect</a:t>
            </a:r>
          </a:p>
          <a:p>
            <a:r>
              <a:rPr lang="en-US" sz="1200" dirty="0">
                <a:latin typeface="Consolas"/>
                <a:cs typeface="Calibri"/>
              </a:rPr>
              <a:t>const usersController = {</a:t>
            </a:r>
          </a:p>
          <a:p>
            <a:r>
              <a:rPr lang="en-US" sz="1200" dirty="0">
                <a:latin typeface="Consolas"/>
                <a:cs typeface="Calibri"/>
              </a:rPr>
              <a:t>  getUsers: (req, res) =&gt; { ... },</a:t>
            </a:r>
          </a:p>
          <a:p>
            <a:r>
              <a:rPr lang="en-US" sz="1200" dirty="0">
                <a:latin typeface="Consolas"/>
                <a:cs typeface="Calibri"/>
              </a:rPr>
              <a:t>  createUser: (req, res) =&gt; { ... }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  <a:p>
            <a:r>
              <a:rPr lang="en-US" sz="1200" dirty="0">
                <a:latin typeface="Consolas"/>
                <a:cs typeface="Calibri"/>
              </a:rPr>
              <a:t>app.get(‘/users/’, usersController.getUsers);</a:t>
            </a:r>
          </a:p>
          <a:p>
            <a:r>
              <a:rPr lang="en-US" sz="1200" dirty="0">
                <a:latin typeface="Consolas"/>
                <a:cs typeface="Calibri"/>
              </a:rPr>
              <a:t>app.post(‘/users/’, usersController.createUser);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9A307C0D-8C48-184D-9213-4E34FB3985FF}"/>
              </a:ext>
            </a:extLst>
          </p:cNvPr>
          <p:cNvSpPr/>
          <p:nvPr/>
        </p:nvSpPr>
        <p:spPr>
          <a:xfrm>
            <a:off x="6342045" y="2302522"/>
            <a:ext cx="5267564" cy="297455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// Request handler definitions</a:t>
            </a:r>
          </a:p>
          <a:p>
            <a:r>
              <a:rPr lang="en-US" sz="1200" dirty="0">
                <a:latin typeface="Consolas"/>
                <a:cs typeface="Calibri"/>
              </a:rPr>
              <a:t>const usersController = { ... }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Express sub-router definitions</a:t>
            </a:r>
          </a:p>
          <a:p>
            <a:r>
              <a:rPr lang="en-US" sz="1200" dirty="0">
                <a:latin typeface="Consolas"/>
                <a:cs typeface="Calibri"/>
              </a:rPr>
              <a:t>const router = express.Router();</a:t>
            </a:r>
          </a:p>
          <a:p>
            <a:r>
              <a:rPr lang="en-US" sz="1200" dirty="0">
                <a:latin typeface="Consolas"/>
                <a:cs typeface="Calibri"/>
              </a:rPr>
              <a:t>router.get(‘/’, usersController.getUsers);</a:t>
            </a:r>
          </a:p>
          <a:p>
            <a:r>
              <a:rPr lang="en-US" sz="1200" dirty="0">
                <a:latin typeface="Consolas"/>
                <a:cs typeface="Calibri"/>
              </a:rPr>
              <a:t>router.post(‘/’, usersController.createUser);</a:t>
            </a:r>
          </a:p>
          <a:p>
            <a:r>
              <a:rPr lang="en-US" sz="1200" dirty="0">
                <a:latin typeface="Consolas"/>
                <a:cs typeface="Calibri"/>
              </a:rPr>
              <a:t>router.put(‘/:id’, usersController.updateUser);</a:t>
            </a:r>
          </a:p>
          <a:p>
            <a:r>
              <a:rPr lang="en-US" sz="1200" dirty="0">
                <a:latin typeface="Consolas"/>
                <a:cs typeface="Calibri"/>
              </a:rPr>
              <a:t>router.delete(‘/:id’, usersController.deleteUser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Bind the sub-router to a path in the application scope</a:t>
            </a:r>
          </a:p>
          <a:p>
            <a:r>
              <a:rPr lang="en-US" sz="1200" dirty="0">
                <a:latin typeface="Consolas"/>
                <a:cs typeface="Calibri"/>
              </a:rPr>
              <a:t>const app = express();</a:t>
            </a:r>
          </a:p>
          <a:p>
            <a:r>
              <a:rPr lang="en-US" sz="1200" dirty="0">
                <a:latin typeface="Consolas"/>
                <a:cs typeface="Calibri"/>
              </a:rPr>
              <a:t>app.use(‘/users’, router);</a:t>
            </a:r>
          </a:p>
        </p:txBody>
      </p:sp>
    </p:spTree>
    <p:extLst>
      <p:ext uri="{BB962C8B-B14F-4D97-AF65-F5344CB8AC3E}">
        <p14:creationId xmlns:p14="http://schemas.microsoft.com/office/powerpoint/2010/main" val="442682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 dirty="0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Handlers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23">
            <a:extLst>
              <a:ext uri="{FF2B5EF4-FFF2-40B4-BE49-F238E27FC236}">
                <a16:creationId xmlns:a16="http://schemas.microsoft.com/office/drawing/2014/main" id="{6CBD4B3D-78A9-46CF-B7B8-8C171B3F1943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Exercises</a:t>
            </a:r>
            <a:endParaRPr lang="es-ES" i="1" dirty="0"/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6909A535-8C53-4A37-B3E0-FC6F7A28423E}"/>
              </a:ext>
            </a:extLst>
          </p:cNvPr>
          <p:cNvSpPr/>
          <p:nvPr/>
        </p:nvSpPr>
        <p:spPr>
          <a:xfrm>
            <a:off x="4485552" y="1342758"/>
            <a:ext cx="7081157" cy="517150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3.1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</a:rPr>
              <a:t>Create a </a:t>
            </a:r>
            <a:r>
              <a:rPr lang="en-US" sz="2400" i="1" dirty="0">
                <a:latin typeface="Century Gothic"/>
              </a:rPr>
              <a:t>GET</a:t>
            </a:r>
            <a:r>
              <a:rPr lang="en-US" sz="2400" dirty="0">
                <a:latin typeface="Century Gothic"/>
              </a:rPr>
              <a:t> </a:t>
            </a:r>
            <a:r>
              <a:rPr lang="en-US" sz="2400" i="1" dirty="0">
                <a:latin typeface="Century Gothic"/>
              </a:rPr>
              <a:t>request handler</a:t>
            </a:r>
            <a:r>
              <a:rPr lang="en-US" sz="2400" dirty="0">
                <a:latin typeface="Century Gothic"/>
              </a:rPr>
              <a:t> that receives a request and returns a list of </a:t>
            </a:r>
            <a:r>
              <a:rPr lang="en-US" sz="2400" i="1" dirty="0">
                <a:latin typeface="Century Gothic"/>
              </a:rPr>
              <a:t>person</a:t>
            </a:r>
            <a:r>
              <a:rPr lang="en-US" sz="2400" dirty="0">
                <a:latin typeface="Century Gothic"/>
              </a:rPr>
              <a:t> objects which have a </a:t>
            </a:r>
            <a:r>
              <a:rPr lang="en-US" sz="2400" i="1" dirty="0">
                <a:latin typeface="Century Gothic"/>
              </a:rPr>
              <a:t>name</a:t>
            </a:r>
            <a:r>
              <a:rPr lang="en-US" sz="2400" dirty="0">
                <a:latin typeface="Century Gothic"/>
              </a:rPr>
              <a:t> and </a:t>
            </a:r>
            <a:r>
              <a:rPr lang="en-US" sz="2400" i="1" dirty="0">
                <a:latin typeface="Century Gothic"/>
              </a:rPr>
              <a:t>last name</a:t>
            </a:r>
            <a:r>
              <a:rPr lang="en-US" sz="2400" dirty="0">
                <a:latin typeface="Century Gothic"/>
              </a:rPr>
              <a:t> attribute.</a:t>
            </a:r>
            <a:endParaRPr lang="en-US" sz="2400" i="1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3.2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  <a:cs typeface="Calibri" panose="020F0502020204030204"/>
              </a:rPr>
              <a:t>Create a </a:t>
            </a:r>
            <a:r>
              <a:rPr lang="en-US" sz="2400" i="1" dirty="0">
                <a:latin typeface="Century Gothic"/>
                <a:cs typeface="Calibri" panose="020F0502020204030204"/>
              </a:rPr>
              <a:t>POST request handler</a:t>
            </a:r>
            <a:r>
              <a:rPr lang="en-US" sz="2400" dirty="0">
                <a:latin typeface="Century Gothic"/>
                <a:cs typeface="Calibri" panose="020F0502020204030204"/>
              </a:rPr>
              <a:t> that receives a person object with the same attributes described on 3.1.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  <a:cs typeface="Calibri" panose="020F0502020204030204"/>
              </a:rPr>
              <a:t>Generate an object response with a </a:t>
            </a:r>
            <a:r>
              <a:rPr lang="en-US" sz="2400" i="1" dirty="0">
                <a:latin typeface="Century Gothic"/>
                <a:cs typeface="Calibri" panose="020F0502020204030204"/>
              </a:rPr>
              <a:t>message</a:t>
            </a:r>
            <a:r>
              <a:rPr lang="en-US" sz="2400" dirty="0">
                <a:latin typeface="Century Gothic"/>
                <a:cs typeface="Calibri" panose="020F0502020204030204"/>
              </a:rPr>
              <a:t> attribute which contains a success message.</a:t>
            </a:r>
          </a:p>
        </p:txBody>
      </p:sp>
      <p:pic>
        <p:nvPicPr>
          <p:cNvPr id="17" name="Picture 2" descr="Hands-On Training">
            <a:extLst>
              <a:ext uri="{FF2B5EF4-FFF2-40B4-BE49-F238E27FC236}">
                <a16:creationId xmlns:a16="http://schemas.microsoft.com/office/drawing/2014/main" id="{87BB2799-E7AE-044E-9D6A-A0C0A37B94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922"/>
          <a:stretch/>
        </p:blipFill>
        <p:spPr bwMode="auto">
          <a:xfrm>
            <a:off x="1021624" y="2522066"/>
            <a:ext cx="2716530" cy="2812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203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 dirty="0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Handlers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23">
            <a:extLst>
              <a:ext uri="{FF2B5EF4-FFF2-40B4-BE49-F238E27FC236}">
                <a16:creationId xmlns:a16="http://schemas.microsoft.com/office/drawing/2014/main" id="{6CBD4B3D-78A9-46CF-B7B8-8C171B3F1943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Exercises</a:t>
            </a:r>
            <a:endParaRPr lang="es-ES" i="1" dirty="0"/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6909A535-8C53-4A37-B3E0-FC6F7A28423E}"/>
              </a:ext>
            </a:extLst>
          </p:cNvPr>
          <p:cNvSpPr/>
          <p:nvPr/>
        </p:nvSpPr>
        <p:spPr>
          <a:xfrm>
            <a:off x="4485552" y="1342758"/>
            <a:ext cx="7081157" cy="517150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3.3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</a:rPr>
              <a:t>Create a </a:t>
            </a:r>
            <a:r>
              <a:rPr lang="en-US" sz="2400" i="1" dirty="0">
                <a:latin typeface="Century Gothic"/>
              </a:rPr>
              <a:t>middleware handler</a:t>
            </a:r>
            <a:r>
              <a:rPr lang="en-US" sz="2400" dirty="0">
                <a:latin typeface="Century Gothic"/>
              </a:rPr>
              <a:t> that receives a request, evaluates start time and then delegates request execution down the chain</a:t>
            </a:r>
            <a:r>
              <a:rPr lang="en-US" sz="2400" i="1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</a:rPr>
              <a:t>When the chain has completed, evaluate time and display an </a:t>
            </a:r>
            <a:r>
              <a:rPr lang="en-US" sz="2400" i="1" dirty="0">
                <a:latin typeface="Century Gothic"/>
              </a:rPr>
              <a:t>elapsed time </a:t>
            </a:r>
            <a:r>
              <a:rPr lang="en-US" sz="2400" dirty="0">
                <a:latin typeface="Century Gothic"/>
              </a:rPr>
              <a:t>message.</a:t>
            </a:r>
            <a:endParaRPr lang="en-US" sz="2400" i="1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3.4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  <a:cs typeface="Calibri" panose="020F0502020204030204"/>
              </a:rPr>
              <a:t>Create a </a:t>
            </a:r>
            <a:r>
              <a:rPr lang="en-US" sz="2400" i="1" dirty="0">
                <a:latin typeface="Century Gothic"/>
                <a:cs typeface="Calibri" panose="020F0502020204030204"/>
              </a:rPr>
              <a:t>middleware handler</a:t>
            </a:r>
            <a:r>
              <a:rPr lang="en-US" sz="2400" dirty="0">
                <a:latin typeface="Century Gothic"/>
                <a:cs typeface="Calibri" panose="020F0502020204030204"/>
              </a:rPr>
              <a:t> that blocks requests (generates an immediate response) if they contain the header “</a:t>
            </a:r>
            <a:r>
              <a:rPr lang="en-US" sz="2400" i="1" dirty="0">
                <a:latin typeface="Century Gothic"/>
                <a:cs typeface="Calibri" panose="020F0502020204030204"/>
              </a:rPr>
              <a:t>x-skip-request</a:t>
            </a:r>
            <a:r>
              <a:rPr lang="en-US" sz="2400" dirty="0">
                <a:latin typeface="Century Gothic"/>
                <a:cs typeface="Calibri" panose="020F0502020204030204"/>
              </a:rPr>
              <a:t>” set to</a:t>
            </a:r>
            <a:r>
              <a:rPr lang="en-US" sz="2400" i="1" dirty="0">
                <a:latin typeface="Century Gothic"/>
                <a:cs typeface="Calibri" panose="020F0502020204030204"/>
              </a:rPr>
              <a:t> true</a:t>
            </a:r>
            <a:r>
              <a:rPr lang="en-US" sz="2400" dirty="0">
                <a:latin typeface="Century Gothic"/>
                <a:cs typeface="Calibri" panose="020F0502020204030204"/>
              </a:rPr>
              <a:t>.</a:t>
            </a:r>
          </a:p>
        </p:txBody>
      </p:sp>
      <p:pic>
        <p:nvPicPr>
          <p:cNvPr id="17" name="Picture 2" descr="Hands-On Training">
            <a:extLst>
              <a:ext uri="{FF2B5EF4-FFF2-40B4-BE49-F238E27FC236}">
                <a16:creationId xmlns:a16="http://schemas.microsoft.com/office/drawing/2014/main" id="{87BB2799-E7AE-044E-9D6A-A0C0A37B94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922"/>
          <a:stretch/>
        </p:blipFill>
        <p:spPr bwMode="auto">
          <a:xfrm>
            <a:off x="1021624" y="2522066"/>
            <a:ext cx="2716530" cy="2812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2270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460638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Service start-up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Handler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Managing requests / response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Handling static file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Security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* Request forwarding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0584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Managing requests/responses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provides out-of-the-box tooling for request headers and parameters management.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On the other hand, request body is parsed and managed using </a:t>
            </a:r>
            <a:r>
              <a:rPr lang="en-US" sz="2000" i="1" dirty="0">
                <a:latin typeface="Century Gothic"/>
              </a:rPr>
              <a:t>middlewares</a:t>
            </a:r>
            <a:r>
              <a:rPr lang="en-US" sz="2000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The most extended ones are: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sz="2000" i="1" dirty="0">
                <a:latin typeface="Century Gothic"/>
              </a:rPr>
              <a:t>body-parser</a:t>
            </a:r>
            <a:r>
              <a:rPr lang="en-US" sz="2000" dirty="0">
                <a:latin typeface="Century Gothic"/>
              </a:rPr>
              <a:t>: typically used to process and parse </a:t>
            </a:r>
            <a:r>
              <a:rPr lang="en-US" sz="2000" i="1" dirty="0">
                <a:latin typeface="Century Gothic"/>
              </a:rPr>
              <a:t>JSON</a:t>
            </a:r>
            <a:r>
              <a:rPr lang="en-US" sz="2000" dirty="0">
                <a:latin typeface="Century Gothic"/>
              </a:rPr>
              <a:t> REST API requests.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sz="2000" i="1" dirty="0">
                <a:latin typeface="Century Gothic"/>
              </a:rPr>
              <a:t>multer</a:t>
            </a:r>
            <a:r>
              <a:rPr lang="en-US" sz="2000" dirty="0">
                <a:latin typeface="Century Gothic"/>
              </a:rPr>
              <a:t>: usually used to process </a:t>
            </a:r>
            <a:r>
              <a:rPr lang="en-US" sz="2000" i="1" dirty="0">
                <a:latin typeface="Century Gothic"/>
              </a:rPr>
              <a:t>multipart</a:t>
            </a:r>
            <a:r>
              <a:rPr lang="en-US" sz="2000" dirty="0">
                <a:latin typeface="Century Gothic"/>
              </a:rPr>
              <a:t> bodies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Keep in mind these </a:t>
            </a:r>
            <a:r>
              <a:rPr lang="en-US" sz="2000" i="1" dirty="0">
                <a:latin typeface="Century Gothic"/>
              </a:rPr>
              <a:t>middlewares</a:t>
            </a:r>
            <a:r>
              <a:rPr lang="en-US" sz="2000" dirty="0">
                <a:latin typeface="Century Gothic"/>
              </a:rPr>
              <a:t> must be added at the top of the </a:t>
            </a:r>
            <a:r>
              <a:rPr lang="en-US" sz="2000" i="1" dirty="0">
                <a:latin typeface="Century Gothic"/>
              </a:rPr>
              <a:t>middleware stack</a:t>
            </a:r>
            <a:r>
              <a:rPr lang="en-US" sz="2000" dirty="0">
                <a:latin typeface="Century Gothic"/>
              </a:rPr>
              <a:t> to ensure the </a:t>
            </a:r>
            <a:r>
              <a:rPr lang="en-US" sz="2000" i="1" dirty="0">
                <a:latin typeface="Century Gothic"/>
              </a:rPr>
              <a:t>request </a:t>
            </a:r>
            <a:r>
              <a:rPr lang="en-US" sz="2000" dirty="0">
                <a:latin typeface="Century Gothic"/>
              </a:rPr>
              <a:t>body has been processed for the rest of the stack </a:t>
            </a:r>
            <a:r>
              <a:rPr lang="en-US" sz="2000" i="1" dirty="0">
                <a:latin typeface="Century Gothic"/>
              </a:rPr>
              <a:t>handlers</a:t>
            </a:r>
            <a:r>
              <a:rPr lang="en-US" sz="2000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These </a:t>
            </a:r>
            <a:r>
              <a:rPr lang="en-US" sz="2000" i="1" dirty="0">
                <a:latin typeface="Century Gothic"/>
              </a:rPr>
              <a:t>middleware</a:t>
            </a:r>
            <a:r>
              <a:rPr lang="en-US" sz="2000" dirty="0">
                <a:latin typeface="Century Gothic"/>
              </a:rPr>
              <a:t> parsers process received data and append it to the input </a:t>
            </a:r>
            <a:r>
              <a:rPr lang="en-US" sz="2000" i="1" dirty="0">
                <a:latin typeface="Century Gothic"/>
              </a:rPr>
              <a:t>request</a:t>
            </a:r>
            <a:r>
              <a:rPr lang="en-US" sz="2000" dirty="0">
                <a:latin typeface="Century Gothic"/>
              </a:rPr>
              <a:t> object.</a:t>
            </a:r>
          </a:p>
        </p:txBody>
      </p:sp>
      <p:sp>
        <p:nvSpPr>
          <p:cNvPr id="14" name="Rectangle 23">
            <a:extLst>
              <a:ext uri="{FF2B5EF4-FFF2-40B4-BE49-F238E27FC236}">
                <a16:creationId xmlns:a16="http://schemas.microsoft.com/office/drawing/2014/main" id="{C307EF83-C4DE-FA43-BDF6-EC93CF1145AD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Requests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329109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2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</p:txBody>
      </p:sp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Managing requests/responses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ángulo 16">
            <a:extLst>
              <a:ext uri="{FF2B5EF4-FFF2-40B4-BE49-F238E27FC236}">
                <a16:creationId xmlns:a16="http://schemas.microsoft.com/office/drawing/2014/main" id="{EAD13079-1028-D148-B500-00D4BBEF75E6}"/>
              </a:ext>
            </a:extLst>
          </p:cNvPr>
          <p:cNvSpPr/>
          <p:nvPr/>
        </p:nvSpPr>
        <p:spPr>
          <a:xfrm>
            <a:off x="7341319" y="1576729"/>
            <a:ext cx="3506703" cy="4310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// Extract body &amp; params</a:t>
            </a:r>
          </a:p>
          <a:p>
            <a:r>
              <a:rPr lang="en-US" sz="1200" dirty="0">
                <a:latin typeface="Consolas"/>
                <a:cs typeface="Calibri"/>
              </a:rPr>
              <a:t>const sampleHandler = (req, res) =&gt; {</a:t>
            </a:r>
          </a:p>
          <a:p>
            <a:r>
              <a:rPr lang="en-US" sz="1200" dirty="0">
                <a:latin typeface="Consolas"/>
                <a:cs typeface="Calibri"/>
              </a:rPr>
              <a:t>  const headers = req.headers;</a:t>
            </a:r>
          </a:p>
          <a:p>
            <a:r>
              <a:rPr lang="en-US" sz="1200" dirty="0">
                <a:latin typeface="Consolas"/>
                <a:cs typeface="Calibri"/>
              </a:rPr>
              <a:t>  const params = req.params;</a:t>
            </a:r>
          </a:p>
          <a:p>
            <a:r>
              <a:rPr lang="en-US" sz="1200" dirty="0">
                <a:latin typeface="Consolas"/>
                <a:cs typeface="Calibri"/>
              </a:rPr>
              <a:t>  const query = req.query;</a:t>
            </a:r>
          </a:p>
          <a:p>
            <a:r>
              <a:rPr lang="en-US" sz="1200" dirty="0">
                <a:latin typeface="Consolas"/>
                <a:cs typeface="Calibri"/>
              </a:rPr>
              <a:t>  const body = req.body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  console.log(‘Headers’, headers);</a:t>
            </a:r>
          </a:p>
          <a:p>
            <a:r>
              <a:rPr lang="en-US" sz="1200" dirty="0">
                <a:latin typeface="Consolas"/>
                <a:cs typeface="Calibri"/>
              </a:rPr>
              <a:t>  console.log(‘Path params’, params);</a:t>
            </a:r>
          </a:p>
          <a:p>
            <a:r>
              <a:rPr lang="en-US" sz="1200" dirty="0">
                <a:latin typeface="Consolas"/>
                <a:cs typeface="Calibri"/>
              </a:rPr>
              <a:t>  console.log(‘Query params’, query);</a:t>
            </a:r>
          </a:p>
          <a:p>
            <a:r>
              <a:rPr lang="en-US" sz="1200" dirty="0">
                <a:latin typeface="Consolas"/>
                <a:cs typeface="Calibri"/>
              </a:rPr>
              <a:t>  console.log(‘Body’, body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  res.sendStatus(200);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A4B61F12-E353-9641-BEFD-4971D1B3BE9D}"/>
              </a:ext>
            </a:extLst>
          </p:cNvPr>
          <p:cNvSpPr/>
          <p:nvPr/>
        </p:nvSpPr>
        <p:spPr>
          <a:xfrm>
            <a:off x="1436633" y="1576730"/>
            <a:ext cx="5847123" cy="4310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‘use strict’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const bodyParser = require(‘body-parser’);</a:t>
            </a:r>
          </a:p>
          <a:p>
            <a:r>
              <a:rPr lang="en-US" sz="1200" dirty="0">
                <a:latin typeface="Consolas"/>
                <a:cs typeface="Calibri"/>
              </a:rPr>
              <a:t>const express = require(‘express’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const app = express();</a:t>
            </a:r>
          </a:p>
          <a:p>
            <a:r>
              <a:rPr lang="en-US" sz="1200" dirty="0">
                <a:latin typeface="Consolas"/>
                <a:cs typeface="Calibri"/>
              </a:rPr>
              <a:t>// Body parser configuration</a:t>
            </a:r>
          </a:p>
          <a:p>
            <a:r>
              <a:rPr lang="en-US" sz="1200" dirty="0">
                <a:latin typeface="Consolas"/>
                <a:cs typeface="Calibri"/>
              </a:rPr>
              <a:t>app.use(bodyParser.json());</a:t>
            </a:r>
          </a:p>
          <a:p>
            <a:r>
              <a:rPr lang="en-US" sz="1200" dirty="0">
                <a:latin typeface="Consolas"/>
                <a:cs typeface="Calibri"/>
              </a:rPr>
              <a:t>app.use(</a:t>
            </a:r>
          </a:p>
          <a:p>
            <a:r>
              <a:rPr lang="en-US" sz="1200" dirty="0">
                <a:latin typeface="Consolas"/>
                <a:cs typeface="Calibri"/>
              </a:rPr>
              <a:t>  bodyParser.urlencoded({</a:t>
            </a:r>
          </a:p>
          <a:p>
            <a:r>
              <a:rPr lang="en-US" sz="1200" dirty="0">
                <a:latin typeface="Consolas"/>
                <a:cs typeface="Calibri"/>
              </a:rPr>
              <a:t>    extended: true</a:t>
            </a:r>
          </a:p>
          <a:p>
            <a:r>
              <a:rPr lang="en-US" sz="1200" dirty="0">
                <a:latin typeface="Consolas"/>
                <a:cs typeface="Calibri"/>
              </a:rPr>
              <a:t>  })</a:t>
            </a:r>
          </a:p>
          <a:p>
            <a:r>
              <a:rPr lang="en-US" sz="1200" dirty="0">
                <a:latin typeface="Consolas"/>
                <a:cs typeface="Calibri"/>
              </a:rPr>
              <a:t>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Start the express service</a:t>
            </a:r>
          </a:p>
          <a:p>
            <a:r>
              <a:rPr lang="en-US" sz="1200" dirty="0">
                <a:latin typeface="Consolas"/>
                <a:cs typeface="Calibri"/>
              </a:rPr>
              <a:t>app.listen(3000, () =&gt; {</a:t>
            </a:r>
          </a:p>
          <a:p>
            <a:r>
              <a:rPr lang="en-US" sz="1200" dirty="0">
                <a:latin typeface="Consolas"/>
                <a:cs typeface="Calibri"/>
              </a:rPr>
              <a:t>  console.log(‘Application listening on port 3000’);</a:t>
            </a:r>
          </a:p>
          <a:p>
            <a:r>
              <a:rPr lang="en-US" sz="1200" dirty="0">
                <a:latin typeface="Consolas"/>
                <a:cs typeface="Calibri"/>
              </a:rPr>
              <a:t>});</a:t>
            </a:r>
          </a:p>
          <a:p>
            <a:r>
              <a:rPr lang="en-US" sz="1200" dirty="0">
                <a:latin typeface="Consolas"/>
                <a:cs typeface="Calibri"/>
              </a:rPr>
              <a:t>app.on(‘error’, (err) =&gt; {</a:t>
            </a:r>
          </a:p>
          <a:p>
            <a:r>
              <a:rPr lang="en-US" sz="1200" dirty="0">
                <a:latin typeface="Consolas"/>
                <a:cs typeface="Calibri"/>
              </a:rPr>
              <a:t>  console.error(‘Unable to start application on port 3000’, err);</a:t>
            </a:r>
          </a:p>
          <a:p>
            <a:r>
              <a:rPr lang="en-US" sz="1200" dirty="0">
                <a:latin typeface="Consolas"/>
                <a:cs typeface="Calibri"/>
              </a:rPr>
              <a:t>});</a:t>
            </a:r>
          </a:p>
        </p:txBody>
      </p:sp>
      <p:sp>
        <p:nvSpPr>
          <p:cNvPr id="16" name="Rectangle 23">
            <a:extLst>
              <a:ext uri="{FF2B5EF4-FFF2-40B4-BE49-F238E27FC236}">
                <a16:creationId xmlns:a16="http://schemas.microsoft.com/office/drawing/2014/main" id="{17E24BA9-4358-1A49-9D58-C448ABD30843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Requests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3562811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Managing requests/responses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provides out-of-the-box tooling for response status, headers and content management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You can combine the </a:t>
            </a:r>
            <a:r>
              <a:rPr lang="en-US" sz="2000" i="1" dirty="0">
                <a:latin typeface="Century Gothic"/>
              </a:rPr>
              <a:t>response </a:t>
            </a:r>
            <a:r>
              <a:rPr lang="en-US" sz="2000" dirty="0">
                <a:latin typeface="Century Gothic"/>
              </a:rPr>
              <a:t>object methods to generate the expected response, ranging from only sending an HTTP status code to an error </a:t>
            </a:r>
            <a:r>
              <a:rPr lang="en-US" sz="2000" i="1" dirty="0">
                <a:latin typeface="Century Gothic"/>
              </a:rPr>
              <a:t>JSON</a:t>
            </a:r>
            <a:r>
              <a:rPr lang="en-US" sz="2000" dirty="0">
                <a:latin typeface="Century Gothic"/>
              </a:rPr>
              <a:t> message.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By leveraging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’ </a:t>
            </a:r>
            <a:r>
              <a:rPr lang="en-US" sz="2000" i="1" dirty="0">
                <a:latin typeface="Century Gothic"/>
              </a:rPr>
              <a:t>response</a:t>
            </a:r>
            <a:r>
              <a:rPr lang="en-US" sz="2000" dirty="0">
                <a:latin typeface="Century Gothic"/>
              </a:rPr>
              <a:t> object and </a:t>
            </a:r>
            <a:r>
              <a:rPr lang="en-US" sz="2000" i="1" dirty="0">
                <a:latin typeface="Century Gothic"/>
              </a:rPr>
              <a:t>JavaScript’s</a:t>
            </a:r>
            <a:r>
              <a:rPr lang="en-US" sz="2000" dirty="0">
                <a:latin typeface="Century Gothic"/>
              </a:rPr>
              <a:t> try/catch coupled with </a:t>
            </a:r>
            <a:r>
              <a:rPr lang="en-US" sz="2000" i="1" dirty="0">
                <a:latin typeface="Century Gothic"/>
              </a:rPr>
              <a:t>async</a:t>
            </a:r>
            <a:r>
              <a:rPr lang="en-US" sz="2000" dirty="0">
                <a:latin typeface="Century Gothic"/>
              </a:rPr>
              <a:t>/</a:t>
            </a:r>
            <a:r>
              <a:rPr lang="en-US" sz="2000" i="1" dirty="0">
                <a:latin typeface="Century Gothic"/>
              </a:rPr>
              <a:t>await</a:t>
            </a:r>
            <a:r>
              <a:rPr lang="en-US" sz="2000" dirty="0">
                <a:latin typeface="Century Gothic"/>
              </a:rPr>
              <a:t>, we can implement error management into our </a:t>
            </a:r>
            <a:r>
              <a:rPr lang="en-US" sz="2000" i="1" dirty="0">
                <a:latin typeface="Century Gothic"/>
              </a:rPr>
              <a:t>request handlers</a:t>
            </a:r>
            <a:r>
              <a:rPr lang="en-US" sz="2000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Among others, the </a:t>
            </a:r>
            <a:r>
              <a:rPr lang="en-US" sz="2000" i="1" dirty="0">
                <a:latin typeface="Century Gothic"/>
              </a:rPr>
              <a:t>response</a:t>
            </a:r>
            <a:r>
              <a:rPr lang="en-US" sz="2000" dirty="0">
                <a:latin typeface="Century Gothic"/>
              </a:rPr>
              <a:t> object provides the following methods: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sz="2000" i="1" dirty="0">
                <a:latin typeface="Century Gothic"/>
              </a:rPr>
              <a:t>sendStatus</a:t>
            </a:r>
            <a:r>
              <a:rPr lang="en-US" sz="2000" dirty="0">
                <a:latin typeface="Century Gothic"/>
              </a:rPr>
              <a:t>: generates a response with the given HTTP status code.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sz="2000" i="1" dirty="0">
                <a:latin typeface="Century Gothic"/>
              </a:rPr>
              <a:t>json</a:t>
            </a:r>
            <a:r>
              <a:rPr lang="en-US" sz="2000" dirty="0">
                <a:latin typeface="Century Gothic"/>
              </a:rPr>
              <a:t>: generates a response with the given JSON body. Can be paired with the </a:t>
            </a:r>
            <a:r>
              <a:rPr lang="en-US" sz="2000" i="1" dirty="0">
                <a:latin typeface="Century Gothic"/>
              </a:rPr>
              <a:t>status</a:t>
            </a:r>
            <a:r>
              <a:rPr lang="en-US" sz="2000" dirty="0">
                <a:latin typeface="Century Gothic"/>
              </a:rPr>
              <a:t> method to customize the returned HTTP status code.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sz="2000" i="1" dirty="0">
                <a:latin typeface="Century Gothic"/>
              </a:rPr>
              <a:t>sendFile</a:t>
            </a:r>
            <a:r>
              <a:rPr lang="en-US" sz="2000" dirty="0">
                <a:latin typeface="Century Gothic"/>
              </a:rPr>
              <a:t>: transfers the file at the given absolute path using the response. Automatically handles the </a:t>
            </a:r>
            <a:r>
              <a:rPr lang="en-US" sz="2000" i="1" dirty="0">
                <a:latin typeface="Century Gothic"/>
              </a:rPr>
              <a:t>Content-Type</a:t>
            </a:r>
            <a:r>
              <a:rPr lang="en-US" sz="2000" dirty="0">
                <a:latin typeface="Century Gothic"/>
              </a:rPr>
              <a:t> according to the provided filename extension.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sz="2000" i="1" dirty="0">
                <a:latin typeface="Century Gothic"/>
              </a:rPr>
              <a:t>redirect</a:t>
            </a:r>
            <a:r>
              <a:rPr lang="en-US" sz="2000" dirty="0">
                <a:latin typeface="Century Gothic"/>
              </a:rPr>
              <a:t>: redirects to the specified path. Can also configure a specific HTTP status.</a:t>
            </a:r>
          </a:p>
        </p:txBody>
      </p:sp>
      <p:sp>
        <p:nvSpPr>
          <p:cNvPr id="14" name="Rectangle 23">
            <a:extLst>
              <a:ext uri="{FF2B5EF4-FFF2-40B4-BE49-F238E27FC236}">
                <a16:creationId xmlns:a16="http://schemas.microsoft.com/office/drawing/2014/main" id="{C307EF83-C4DE-FA43-BDF6-EC93CF1145AD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Responses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382219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2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A4FBB38A-5673-B343-8A22-C5F9D3568034}"/>
              </a:ext>
            </a:extLst>
          </p:cNvPr>
          <p:cNvSpPr/>
          <p:nvPr/>
        </p:nvSpPr>
        <p:spPr>
          <a:xfrm>
            <a:off x="6999116" y="1598763"/>
            <a:ext cx="4193610" cy="4310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</a:rPr>
              <a:t>// Mock function that simulates a delay</a:t>
            </a:r>
          </a:p>
          <a:p>
            <a:r>
              <a:rPr lang="en-US" sz="1200" dirty="0">
                <a:latin typeface="Consolas"/>
              </a:rPr>
              <a:t>// for the async controller</a:t>
            </a:r>
          </a:p>
          <a:p>
            <a:r>
              <a:rPr lang="en-US" sz="1200" dirty="0">
                <a:latin typeface="Consolas"/>
              </a:rPr>
              <a:t>const getUser = () =&gt; {</a:t>
            </a:r>
          </a:p>
          <a:p>
            <a:r>
              <a:rPr lang="en-US" sz="1200" dirty="0">
                <a:latin typeface="Consolas"/>
              </a:rPr>
              <a:t>  return new Promise((resolve, reject) =&gt; {</a:t>
            </a:r>
          </a:p>
          <a:p>
            <a:r>
              <a:rPr lang="en-US" sz="1200" dirty="0">
                <a:latin typeface="Consolas"/>
              </a:rPr>
              <a:t>    setTimeout(() =&gt; { resolve(); }, 1000);</a:t>
            </a:r>
          </a:p>
          <a:p>
            <a:r>
              <a:rPr lang="en-US" sz="1200" dirty="0">
                <a:latin typeface="Consolas"/>
              </a:rPr>
              <a:t>  });</a:t>
            </a:r>
          </a:p>
          <a:p>
            <a:r>
              <a:rPr lang="en-US" sz="1200" dirty="0">
                <a:latin typeface="Consolas"/>
              </a:rPr>
              <a:t>};</a:t>
            </a:r>
          </a:p>
          <a:p>
            <a:endParaRPr lang="en-US" sz="1200" dirty="0">
              <a:latin typeface="Consolas"/>
            </a:endParaRPr>
          </a:p>
          <a:p>
            <a:r>
              <a:rPr lang="en-US" sz="1200" dirty="0">
                <a:latin typeface="Consolas"/>
              </a:rPr>
              <a:t>// Async controller</a:t>
            </a:r>
          </a:p>
          <a:p>
            <a:r>
              <a:rPr lang="en-US" sz="1200" dirty="0">
                <a:latin typeface="Consolas"/>
                <a:cs typeface="Calibri"/>
              </a:rPr>
              <a:t>const asyncHandler = async (req, res) =&gt; {</a:t>
            </a:r>
          </a:p>
          <a:p>
            <a:r>
              <a:rPr lang="en-US" sz="1200" dirty="0">
                <a:latin typeface="Consolas"/>
                <a:cs typeface="Calibri"/>
              </a:rPr>
              <a:t>  const user = await getUser();</a:t>
            </a:r>
          </a:p>
          <a:p>
            <a:r>
              <a:rPr lang="en-US" sz="1200" dirty="0">
                <a:latin typeface="Consolas"/>
                <a:cs typeface="Calibri"/>
              </a:rPr>
              <a:t>  res.json({ user });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</p:txBody>
      </p:sp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Managing requests/responses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ángulo 16">
            <a:extLst>
              <a:ext uri="{FF2B5EF4-FFF2-40B4-BE49-F238E27FC236}">
                <a16:creationId xmlns:a16="http://schemas.microsoft.com/office/drawing/2014/main" id="{EAD13079-1028-D148-B500-00D4BBEF75E6}"/>
              </a:ext>
            </a:extLst>
          </p:cNvPr>
          <p:cNvSpPr/>
          <p:nvPr/>
        </p:nvSpPr>
        <p:spPr>
          <a:xfrm>
            <a:off x="918068" y="1598763"/>
            <a:ext cx="5937888" cy="4310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// Error management on controller</a:t>
            </a:r>
          </a:p>
          <a:p>
            <a:r>
              <a:rPr lang="en-US" sz="1200" dirty="0">
                <a:latin typeface="Consolas"/>
                <a:cs typeface="Calibri"/>
              </a:rPr>
              <a:t>const sampleHandler = (req, res) =&gt; {</a:t>
            </a:r>
          </a:p>
          <a:p>
            <a:r>
              <a:rPr lang="en-US" sz="1200" dirty="0">
                <a:latin typeface="Consolas"/>
                <a:cs typeface="Calibri"/>
              </a:rPr>
              <a:t>  const headers = req.headers;</a:t>
            </a:r>
          </a:p>
          <a:p>
            <a:r>
              <a:rPr lang="en-US" sz="1200" dirty="0">
                <a:latin typeface="Consolas"/>
                <a:cs typeface="Calibri"/>
              </a:rPr>
              <a:t>  const params = req.params;</a:t>
            </a:r>
          </a:p>
          <a:p>
            <a:r>
              <a:rPr lang="en-US" sz="1200" dirty="0">
                <a:latin typeface="Consolas"/>
                <a:cs typeface="Calibri"/>
              </a:rPr>
              <a:t>  const query = req.query;</a:t>
            </a:r>
          </a:p>
          <a:p>
            <a:r>
              <a:rPr lang="en-US" sz="1200" dirty="0">
                <a:latin typeface="Consolas"/>
                <a:cs typeface="Calibri"/>
              </a:rPr>
              <a:t>  const body = req.body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  try {</a:t>
            </a:r>
          </a:p>
          <a:p>
            <a:r>
              <a:rPr lang="en-US" sz="1200" dirty="0">
                <a:latin typeface="Consolas"/>
                <a:cs typeface="Calibri"/>
              </a:rPr>
              <a:t>    console.log(‘Headers’, headers);</a:t>
            </a:r>
          </a:p>
          <a:p>
            <a:r>
              <a:rPr lang="en-US" sz="1200" dirty="0">
                <a:latin typeface="Consolas"/>
                <a:cs typeface="Calibri"/>
              </a:rPr>
              <a:t>    console.log(‘Path params’, params);</a:t>
            </a:r>
          </a:p>
          <a:p>
            <a:r>
              <a:rPr lang="en-US" sz="1200" dirty="0">
                <a:latin typeface="Consolas"/>
                <a:cs typeface="Calibri"/>
              </a:rPr>
              <a:t>    console.log(‘Query params’, query);</a:t>
            </a:r>
          </a:p>
          <a:p>
            <a:r>
              <a:rPr lang="en-US" sz="1200" dirty="0">
                <a:latin typeface="Consolas"/>
                <a:cs typeface="Calibri"/>
              </a:rPr>
              <a:t>    console.log(‘Body’, body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    res.json({ message: ‘Everything went fine’ });</a:t>
            </a:r>
          </a:p>
          <a:p>
            <a:r>
              <a:rPr lang="en-US" sz="1200" dirty="0">
                <a:latin typeface="Consolas"/>
                <a:cs typeface="Calibri"/>
              </a:rPr>
              <a:t>  } catch (err) {</a:t>
            </a:r>
          </a:p>
          <a:p>
            <a:r>
              <a:rPr lang="en-US" sz="1200" dirty="0">
                <a:latin typeface="Consolas"/>
                <a:cs typeface="Calibri"/>
              </a:rPr>
              <a:t>    console.error(‘Unable to process request’, err);</a:t>
            </a:r>
          </a:p>
          <a:p>
            <a:r>
              <a:rPr lang="en-US" sz="1200" dirty="0">
                <a:latin typeface="Consolas"/>
                <a:cs typeface="Calibri"/>
              </a:rPr>
              <a:t>    res.status(500).json({ message: ‘Unable to process request’ });</a:t>
            </a:r>
          </a:p>
          <a:p>
            <a:r>
              <a:rPr lang="en-US" sz="1200" dirty="0">
                <a:latin typeface="Consolas"/>
                <a:cs typeface="Calibri"/>
              </a:rPr>
              <a:t>  }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</p:txBody>
      </p:sp>
      <p:sp>
        <p:nvSpPr>
          <p:cNvPr id="16" name="Rectangle 23">
            <a:extLst>
              <a:ext uri="{FF2B5EF4-FFF2-40B4-BE49-F238E27FC236}">
                <a16:creationId xmlns:a16="http://schemas.microsoft.com/office/drawing/2014/main" id="{17E24BA9-4358-1A49-9D58-C448ABD30843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Responses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3349805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 dirty="0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Managing requests/responses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23">
            <a:extLst>
              <a:ext uri="{FF2B5EF4-FFF2-40B4-BE49-F238E27FC236}">
                <a16:creationId xmlns:a16="http://schemas.microsoft.com/office/drawing/2014/main" id="{6CBD4B3D-78A9-46CF-B7B8-8C171B3F1943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Exercises</a:t>
            </a:r>
            <a:endParaRPr lang="es-ES" i="1" dirty="0"/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6909A535-8C53-4A37-B3E0-FC6F7A28423E}"/>
              </a:ext>
            </a:extLst>
          </p:cNvPr>
          <p:cNvSpPr/>
          <p:nvPr/>
        </p:nvSpPr>
        <p:spPr>
          <a:xfrm>
            <a:off x="4485552" y="1342758"/>
            <a:ext cx="7081157" cy="517150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4.1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Based on </a:t>
            </a:r>
            <a:r>
              <a:rPr lang="en-US" sz="2000" i="1" dirty="0">
                <a:latin typeface="Century Gothic"/>
              </a:rPr>
              <a:t>exercise 3.2</a:t>
            </a:r>
            <a:r>
              <a:rPr lang="en-US" sz="2000" dirty="0">
                <a:latin typeface="Century Gothic"/>
              </a:rPr>
              <a:t>, extract the received body content and generate a response which greets the received person by the format “Hello ${</a:t>
            </a:r>
            <a:r>
              <a:rPr lang="en-US" sz="2000" i="1" dirty="0">
                <a:latin typeface="Century Gothic"/>
              </a:rPr>
              <a:t>name</a:t>
            </a:r>
            <a:r>
              <a:rPr lang="en-US" sz="2000" dirty="0">
                <a:latin typeface="Century Gothic"/>
              </a:rPr>
              <a:t>} ${</a:t>
            </a:r>
            <a:r>
              <a:rPr lang="en-US" sz="2000" i="1" dirty="0">
                <a:latin typeface="Century Gothic"/>
              </a:rPr>
              <a:t>lastName</a:t>
            </a:r>
            <a:r>
              <a:rPr lang="en-US" sz="2000" dirty="0">
                <a:latin typeface="Century Gothic"/>
              </a:rPr>
              <a:t>}!”.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Generate a status 400 response with an error message in case any of the </a:t>
            </a:r>
            <a:r>
              <a:rPr lang="en-US" sz="2000" i="1" dirty="0">
                <a:latin typeface="Century Gothic"/>
              </a:rPr>
              <a:t>person</a:t>
            </a:r>
            <a:r>
              <a:rPr lang="en-US" sz="2000" dirty="0">
                <a:latin typeface="Century Gothic"/>
              </a:rPr>
              <a:t> object attributes are missing.</a:t>
            </a:r>
            <a:endParaRPr lang="en-US" sz="2000" i="1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4.2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  <a:cs typeface="Calibri" panose="020F0502020204030204"/>
              </a:rPr>
              <a:t>Based on </a:t>
            </a:r>
            <a:r>
              <a:rPr lang="en-US" sz="2400" i="1" dirty="0">
                <a:latin typeface="Century Gothic"/>
                <a:cs typeface="Calibri" panose="020F0502020204030204"/>
              </a:rPr>
              <a:t>exercise 4.1</a:t>
            </a:r>
            <a:r>
              <a:rPr lang="en-US" sz="2400" dirty="0">
                <a:latin typeface="Century Gothic"/>
                <a:cs typeface="Calibri" panose="020F0502020204030204"/>
              </a:rPr>
              <a:t>, implement error management, generating a status 500 response in case of unexpected errors.</a:t>
            </a:r>
          </a:p>
        </p:txBody>
      </p:sp>
      <p:pic>
        <p:nvPicPr>
          <p:cNvPr id="17" name="Picture 2" descr="Hands-On Training">
            <a:extLst>
              <a:ext uri="{FF2B5EF4-FFF2-40B4-BE49-F238E27FC236}">
                <a16:creationId xmlns:a16="http://schemas.microsoft.com/office/drawing/2014/main" id="{87BB2799-E7AE-044E-9D6A-A0C0A37B94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922"/>
          <a:stretch/>
        </p:blipFill>
        <p:spPr bwMode="auto">
          <a:xfrm>
            <a:off x="1021624" y="2522066"/>
            <a:ext cx="2716530" cy="2812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919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460638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Service start-up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Handler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Managing requests / response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Handling static file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Security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* Request forwarding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678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460638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Service start-up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Handler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Managing requests / response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Handling static file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Security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* Request forwarding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46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Handling static files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i="1" dirty="0">
                <a:latin typeface="Century Gothic"/>
              </a:rPr>
              <a:t>express </a:t>
            </a:r>
            <a:r>
              <a:rPr lang="en-US" sz="2000" dirty="0">
                <a:latin typeface="Century Gothic"/>
              </a:rPr>
              <a:t>also provides out-of-the-box </a:t>
            </a:r>
            <a:r>
              <a:rPr lang="en-US" sz="2000" i="1" dirty="0">
                <a:latin typeface="Century Gothic"/>
              </a:rPr>
              <a:t>middlewares</a:t>
            </a:r>
            <a:r>
              <a:rPr lang="en-US" sz="2000" dirty="0">
                <a:latin typeface="Century Gothic"/>
              </a:rPr>
              <a:t> to publish </a:t>
            </a:r>
            <a:r>
              <a:rPr lang="en-US" sz="2000" i="1" dirty="0">
                <a:latin typeface="Century Gothic"/>
              </a:rPr>
              <a:t>static</a:t>
            </a:r>
            <a:r>
              <a:rPr lang="en-US" sz="2000" dirty="0">
                <a:latin typeface="Century Gothic"/>
              </a:rPr>
              <a:t> files as a CDN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This </a:t>
            </a:r>
            <a:r>
              <a:rPr lang="en-US" sz="2000" i="1" dirty="0">
                <a:latin typeface="Century Gothic"/>
              </a:rPr>
              <a:t>static middleware</a:t>
            </a:r>
            <a:r>
              <a:rPr lang="en-US" sz="2000" dirty="0">
                <a:latin typeface="Century Gothic"/>
              </a:rPr>
              <a:t> can be used to publish HTML, CSS or JS content, among many other possibilities. For example, it can be used to publish SPAs </a:t>
            </a:r>
            <a:r>
              <a:rPr lang="en-US" sz="2000" i="1" dirty="0">
                <a:latin typeface="Century Gothic"/>
              </a:rPr>
              <a:t>(Angular,</a:t>
            </a:r>
            <a:r>
              <a:rPr lang="en-US" sz="2000" dirty="0">
                <a:latin typeface="Century Gothic"/>
              </a:rPr>
              <a:t> </a:t>
            </a:r>
            <a:r>
              <a:rPr lang="en-US" sz="2000" i="1" dirty="0">
                <a:latin typeface="Century Gothic"/>
              </a:rPr>
              <a:t>React</a:t>
            </a:r>
            <a:r>
              <a:rPr lang="en-US" sz="2000" dirty="0">
                <a:latin typeface="Century Gothic"/>
              </a:rPr>
              <a:t>, </a:t>
            </a:r>
            <a:r>
              <a:rPr lang="en-US" sz="2000" i="1" dirty="0">
                <a:latin typeface="Century Gothic"/>
              </a:rPr>
              <a:t>Vue</a:t>
            </a:r>
            <a:r>
              <a:rPr lang="en-US" sz="2000" dirty="0">
                <a:latin typeface="Century Gothic"/>
              </a:rPr>
              <a:t> applications</a:t>
            </a:r>
            <a:r>
              <a:rPr lang="en-US" sz="2000" i="1" dirty="0">
                <a:latin typeface="Century Gothic"/>
              </a:rPr>
              <a:t>) </a:t>
            </a:r>
            <a:r>
              <a:rPr lang="en-US" sz="2000" dirty="0">
                <a:latin typeface="Century Gothic"/>
              </a:rPr>
              <a:t>or to publish configuration files for front-end frameworks.</a:t>
            </a:r>
            <a:endParaRPr lang="en-US" sz="2000" i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i="1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The </a:t>
            </a:r>
            <a:r>
              <a:rPr lang="en-US" sz="2000" i="1" dirty="0">
                <a:latin typeface="Century Gothic"/>
              </a:rPr>
              <a:t>static middleware</a:t>
            </a:r>
            <a:r>
              <a:rPr lang="en-US" sz="2000" dirty="0">
                <a:latin typeface="Century Gothic"/>
              </a:rPr>
              <a:t> listens to the specified file system path and reflects changes in real time, meaning there is no need for service restarts to publish new content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It is recommended to allocate the </a:t>
            </a:r>
            <a:r>
              <a:rPr lang="en-US" sz="2000" i="1" dirty="0">
                <a:latin typeface="Century Gothic"/>
              </a:rPr>
              <a:t>static</a:t>
            </a:r>
            <a:r>
              <a:rPr lang="en-US" sz="2000" dirty="0">
                <a:latin typeface="Century Gothic"/>
              </a:rPr>
              <a:t> folder 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location using the </a:t>
            </a:r>
            <a:r>
              <a:rPr lang="en-US" sz="2000" i="1" dirty="0">
                <a:latin typeface="Century Gothic"/>
              </a:rPr>
              <a:t>path</a:t>
            </a:r>
            <a:r>
              <a:rPr lang="en-US" sz="2000" dirty="0">
                <a:latin typeface="Century Gothic"/>
              </a:rPr>
              <a:t> module to ensure cross 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OS consistency.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Additionally, it is possible to specify a </a:t>
            </a:r>
            <a:r>
              <a:rPr lang="en-US" sz="2000" i="1" dirty="0">
                <a:latin typeface="Century Gothic"/>
              </a:rPr>
              <a:t>path</a:t>
            </a:r>
            <a:r>
              <a:rPr lang="en-US" sz="2000" dirty="0">
                <a:latin typeface="Century Gothic"/>
              </a:rPr>
              <a:t> 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Under which the </a:t>
            </a:r>
            <a:r>
              <a:rPr lang="en-US" sz="2000" i="1" dirty="0">
                <a:latin typeface="Century Gothic"/>
              </a:rPr>
              <a:t>static</a:t>
            </a:r>
            <a:r>
              <a:rPr lang="en-US" sz="2000" dirty="0">
                <a:latin typeface="Century Gothic"/>
              </a:rPr>
              <a:t> resources will be 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published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8A726473-A539-5A40-97F2-6EA62B267E30}"/>
              </a:ext>
            </a:extLst>
          </p:cNvPr>
          <p:cNvSpPr/>
          <p:nvPr/>
        </p:nvSpPr>
        <p:spPr>
          <a:xfrm>
            <a:off x="6608620" y="4377207"/>
            <a:ext cx="4951440" cy="18913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</a:rPr>
              <a:t>‘use strict’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const express = require(‘express’);</a:t>
            </a:r>
          </a:p>
          <a:p>
            <a:r>
              <a:rPr lang="en-US" sz="1200" dirty="0">
                <a:latin typeface="Consolas"/>
                <a:cs typeface="Calibri"/>
              </a:rPr>
              <a:t>const path = require(‘path’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const staticFolderPath = path.join(__dirname, ‘public’);</a:t>
            </a:r>
          </a:p>
          <a:p>
            <a:r>
              <a:rPr lang="en-US" sz="1200" dirty="0">
                <a:latin typeface="Consolas"/>
                <a:cs typeface="Calibri"/>
              </a:rPr>
              <a:t>const app = express();</a:t>
            </a:r>
          </a:p>
          <a:p>
            <a:r>
              <a:rPr lang="en-US" sz="1200" dirty="0">
                <a:latin typeface="Consolas"/>
                <a:cs typeface="Calibri"/>
              </a:rPr>
              <a:t>// The static files will be published on the </a:t>
            </a:r>
            <a:r>
              <a:rPr lang="en-US" sz="1200" i="1" dirty="0">
                <a:latin typeface="Consolas"/>
                <a:cs typeface="Calibri"/>
              </a:rPr>
              <a:t>/public</a:t>
            </a:r>
            <a:r>
              <a:rPr lang="en-US" sz="1200" dirty="0">
                <a:latin typeface="Consolas"/>
                <a:cs typeface="Calibri"/>
              </a:rPr>
              <a:t> URI</a:t>
            </a:r>
          </a:p>
          <a:p>
            <a:r>
              <a:rPr lang="en-US" sz="1200" dirty="0">
                <a:latin typeface="Consolas"/>
                <a:cs typeface="Calibri"/>
              </a:rPr>
              <a:t>app.use(‘/public’, express.static(staticFolderPath));</a:t>
            </a:r>
          </a:p>
        </p:txBody>
      </p:sp>
    </p:spTree>
    <p:extLst>
      <p:ext uri="{BB962C8B-B14F-4D97-AF65-F5344CB8AC3E}">
        <p14:creationId xmlns:p14="http://schemas.microsoft.com/office/powerpoint/2010/main" val="137675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 dirty="0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Handling static files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23">
            <a:extLst>
              <a:ext uri="{FF2B5EF4-FFF2-40B4-BE49-F238E27FC236}">
                <a16:creationId xmlns:a16="http://schemas.microsoft.com/office/drawing/2014/main" id="{6CBD4B3D-78A9-46CF-B7B8-8C171B3F1943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Exercises</a:t>
            </a:r>
            <a:endParaRPr lang="es-ES" i="1" dirty="0"/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6909A535-8C53-4A37-B3E0-FC6F7A28423E}"/>
              </a:ext>
            </a:extLst>
          </p:cNvPr>
          <p:cNvSpPr/>
          <p:nvPr/>
        </p:nvSpPr>
        <p:spPr>
          <a:xfrm>
            <a:off x="4485552" y="1342758"/>
            <a:ext cx="7081157" cy="517150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5.1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</a:rPr>
              <a:t>Create a default </a:t>
            </a:r>
            <a:r>
              <a:rPr lang="en-US" sz="2400" i="1" dirty="0">
                <a:latin typeface="Century Gothic"/>
              </a:rPr>
              <a:t>static</a:t>
            </a:r>
            <a:r>
              <a:rPr lang="en-US" sz="2400" dirty="0">
                <a:latin typeface="Century Gothic"/>
              </a:rPr>
              <a:t> mapping that publishes an example </a:t>
            </a:r>
            <a:r>
              <a:rPr lang="en-US" sz="2400" i="1" dirty="0">
                <a:latin typeface="Century Gothic"/>
              </a:rPr>
              <a:t>index.html </a:t>
            </a:r>
            <a:r>
              <a:rPr lang="en-US" sz="2400" dirty="0">
                <a:latin typeface="Century Gothic"/>
              </a:rPr>
              <a:t>file.</a:t>
            </a:r>
            <a:endParaRPr lang="en-US" sz="2400" i="1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5.2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  <a:cs typeface="Calibri" panose="020F0502020204030204"/>
              </a:rPr>
              <a:t>Create a </a:t>
            </a:r>
            <a:r>
              <a:rPr lang="en-US" sz="2400" i="1" dirty="0">
                <a:latin typeface="Century Gothic"/>
                <a:cs typeface="Calibri" panose="020F0502020204030204"/>
              </a:rPr>
              <a:t>default handler</a:t>
            </a:r>
            <a:r>
              <a:rPr lang="en-US" sz="2400" dirty="0">
                <a:latin typeface="Century Gothic"/>
                <a:cs typeface="Calibri" panose="020F0502020204030204"/>
              </a:rPr>
              <a:t> that returns the </a:t>
            </a:r>
            <a:r>
              <a:rPr lang="en-US" sz="2400" i="1" dirty="0">
                <a:latin typeface="Century Gothic"/>
                <a:cs typeface="Calibri" panose="020F0502020204030204"/>
              </a:rPr>
              <a:t>index.html</a:t>
            </a:r>
            <a:r>
              <a:rPr lang="en-US" sz="2400" dirty="0">
                <a:latin typeface="Century Gothic"/>
                <a:cs typeface="Calibri" panose="020F0502020204030204"/>
              </a:rPr>
              <a:t> file for requests which couldn’t be handled by the API </a:t>
            </a:r>
            <a:r>
              <a:rPr lang="en-US" sz="2400" i="1" dirty="0">
                <a:latin typeface="Century Gothic"/>
                <a:cs typeface="Calibri" panose="020F0502020204030204"/>
              </a:rPr>
              <a:t>request handlers</a:t>
            </a:r>
            <a:r>
              <a:rPr lang="en-US" sz="2400" dirty="0">
                <a:latin typeface="Century Gothic"/>
                <a:cs typeface="Calibri" panose="020F0502020204030204"/>
              </a:rPr>
              <a:t>.</a:t>
            </a:r>
          </a:p>
          <a:p>
            <a:pPr>
              <a:spcBef>
                <a:spcPct val="20000"/>
              </a:spcBef>
            </a:pPr>
            <a:endParaRPr lang="en-US" sz="2400" dirty="0">
              <a:latin typeface="Century Gothic"/>
              <a:cs typeface="Calibri" panose="020F0502020204030204"/>
            </a:endParaRPr>
          </a:p>
          <a:p>
            <a:pPr>
              <a:spcBef>
                <a:spcPct val="20000"/>
              </a:spcBef>
            </a:pPr>
            <a:r>
              <a:rPr lang="en-US" sz="2400" i="1" dirty="0">
                <a:latin typeface="Century Gothic"/>
                <a:cs typeface="Calibri" panose="020F0502020204030204"/>
              </a:rPr>
              <a:t>Tip: express’</a:t>
            </a:r>
            <a:r>
              <a:rPr lang="en-US" sz="2400" dirty="0">
                <a:latin typeface="Century Gothic"/>
                <a:cs typeface="Calibri" panose="020F0502020204030204"/>
              </a:rPr>
              <a:t> response object has a </a:t>
            </a:r>
            <a:r>
              <a:rPr lang="en-US" sz="2400" i="1" dirty="0">
                <a:latin typeface="Century Gothic"/>
                <a:cs typeface="Calibri" panose="020F0502020204030204"/>
              </a:rPr>
              <a:t>sendFile</a:t>
            </a:r>
            <a:r>
              <a:rPr lang="en-US" sz="2400" dirty="0">
                <a:latin typeface="Century Gothic"/>
                <a:cs typeface="Calibri" panose="020F0502020204030204"/>
              </a:rPr>
              <a:t> method.</a:t>
            </a:r>
            <a:endParaRPr lang="en-US" sz="2400" i="1" dirty="0">
              <a:latin typeface="Century Gothic"/>
              <a:cs typeface="Calibri" panose="020F0502020204030204"/>
            </a:endParaRPr>
          </a:p>
        </p:txBody>
      </p:sp>
      <p:pic>
        <p:nvPicPr>
          <p:cNvPr id="17" name="Picture 2" descr="Hands-On Training">
            <a:extLst>
              <a:ext uri="{FF2B5EF4-FFF2-40B4-BE49-F238E27FC236}">
                <a16:creationId xmlns:a16="http://schemas.microsoft.com/office/drawing/2014/main" id="{87BB2799-E7AE-044E-9D6A-A0C0A37B94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922"/>
          <a:stretch/>
        </p:blipFill>
        <p:spPr bwMode="auto">
          <a:xfrm>
            <a:off x="1021624" y="2522066"/>
            <a:ext cx="2716530" cy="2812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275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460638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Service start-up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Handler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Managing requests / response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Handling static file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Security</a:t>
            </a:r>
            <a:endParaRPr lang="en-US" sz="2400" dirty="0">
              <a:solidFill>
                <a:schemeClr val="bg1"/>
              </a:solidFill>
              <a:latin typeface="Century Gothic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* Request forwarding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8018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Security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While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does not provide </a:t>
            </a:r>
            <a:r>
              <a:rPr lang="en-US" sz="2000" i="1" dirty="0">
                <a:latin typeface="Century Gothic"/>
              </a:rPr>
              <a:t>security</a:t>
            </a:r>
            <a:r>
              <a:rPr lang="en-US" sz="2000" dirty="0">
                <a:latin typeface="Century Gothic"/>
              </a:rPr>
              <a:t> features out-of-the-box; it is very simple to configure all-purpose security using existing </a:t>
            </a:r>
            <a:r>
              <a:rPr lang="en-US" sz="2000" i="1" dirty="0">
                <a:latin typeface="Century Gothic"/>
              </a:rPr>
              <a:t>middlewares</a:t>
            </a:r>
            <a:r>
              <a:rPr lang="en-US" sz="2000" dirty="0">
                <a:latin typeface="Century Gothic"/>
              </a:rPr>
              <a:t> such as </a:t>
            </a:r>
            <a:r>
              <a:rPr lang="en-US" sz="2000" i="1" dirty="0">
                <a:latin typeface="Century Gothic"/>
              </a:rPr>
              <a:t>helmet </a:t>
            </a:r>
            <a:r>
              <a:rPr lang="en-US" sz="2000" dirty="0">
                <a:latin typeface="Century Gothic"/>
              </a:rPr>
              <a:t>or </a:t>
            </a:r>
            <a:r>
              <a:rPr lang="en-US" sz="2000" i="1" dirty="0">
                <a:latin typeface="Century Gothic"/>
              </a:rPr>
              <a:t>hpp</a:t>
            </a:r>
            <a:r>
              <a:rPr lang="en-US" sz="2000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The </a:t>
            </a:r>
            <a:r>
              <a:rPr lang="en-US" sz="2000" i="1" dirty="0">
                <a:latin typeface="Century Gothic"/>
              </a:rPr>
              <a:t>helmet</a:t>
            </a:r>
            <a:r>
              <a:rPr lang="en-US" sz="2000" dirty="0">
                <a:latin typeface="Century Gothic"/>
              </a:rPr>
              <a:t> package features 11 </a:t>
            </a:r>
            <a:r>
              <a:rPr lang="en-US" sz="2000" i="1" dirty="0">
                <a:latin typeface="Century Gothic"/>
              </a:rPr>
              <a:t>middlewares</a:t>
            </a:r>
            <a:r>
              <a:rPr lang="en-US" sz="2000" dirty="0">
                <a:latin typeface="Century Gothic"/>
              </a:rPr>
              <a:t> which provide several security measures that deal with HTTP headers and help to avoid different kind of information leaks or possible attacks such as </a:t>
            </a:r>
            <a:r>
              <a:rPr lang="en-US" sz="2000" i="1" dirty="0">
                <a:latin typeface="Century Gothic"/>
              </a:rPr>
              <a:t>clickjacking</a:t>
            </a:r>
            <a:r>
              <a:rPr lang="en-US" sz="2000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The </a:t>
            </a:r>
            <a:r>
              <a:rPr lang="en-US" sz="2000" i="1" dirty="0">
                <a:latin typeface="Century Gothic"/>
              </a:rPr>
              <a:t>middlewares</a:t>
            </a:r>
            <a:r>
              <a:rPr lang="en-US" sz="2000" dirty="0">
                <a:latin typeface="Century Gothic"/>
              </a:rPr>
              <a:t> can be configured individually if required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i="1" dirty="0">
                <a:latin typeface="Century Gothic"/>
              </a:rPr>
              <a:t>hpp</a:t>
            </a:r>
            <a:r>
              <a:rPr lang="en-US" sz="2000" dirty="0">
                <a:latin typeface="Century Gothic"/>
              </a:rPr>
              <a:t> focuses on avoiding </a:t>
            </a:r>
            <a:r>
              <a:rPr lang="en-US" sz="2000" i="1" dirty="0">
                <a:latin typeface="Century Gothic"/>
              </a:rPr>
              <a:t>HTTP parameter pollution</a:t>
            </a:r>
            <a:r>
              <a:rPr lang="en-US" sz="2000" dirty="0">
                <a:latin typeface="Century Gothic"/>
              </a:rPr>
              <a:t> attacks, which may allow bypassing input validation or result in denial of service. This </a:t>
            </a:r>
            <a:r>
              <a:rPr lang="en-US" sz="2000" i="1" dirty="0">
                <a:latin typeface="Century Gothic"/>
              </a:rPr>
              <a:t>middleware</a:t>
            </a:r>
            <a:r>
              <a:rPr lang="en-US" sz="2000" dirty="0">
                <a:latin typeface="Century Gothic"/>
              </a:rPr>
              <a:t> must be placed right after the </a:t>
            </a:r>
            <a:r>
              <a:rPr lang="en-US" sz="2000" i="1" dirty="0">
                <a:latin typeface="Century Gothic"/>
              </a:rPr>
              <a:t>body-parser</a:t>
            </a:r>
            <a:r>
              <a:rPr lang="en-US" sz="2000" dirty="0">
                <a:latin typeface="Century Gothic"/>
              </a:rPr>
              <a:t> </a:t>
            </a:r>
            <a:r>
              <a:rPr lang="en-US" sz="2000" i="1" dirty="0">
                <a:latin typeface="Century Gothic"/>
              </a:rPr>
              <a:t>middleware</a:t>
            </a:r>
            <a:r>
              <a:rPr lang="en-US" sz="2000" dirty="0">
                <a:latin typeface="Century Gothic"/>
              </a:rPr>
              <a:t> in order to have it properly check both the headers and the body content.</a:t>
            </a:r>
          </a:p>
          <a:p>
            <a:pPr>
              <a:spcBef>
                <a:spcPct val="20000"/>
              </a:spcBef>
            </a:pPr>
            <a:endParaRPr lang="en-US" sz="2000" i="1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Finally, a couple special mentions for </a:t>
            </a:r>
            <a:r>
              <a:rPr lang="en-US" sz="2000" i="1" dirty="0" err="1">
                <a:latin typeface="Century Gothic"/>
              </a:rPr>
              <a:t>cors</a:t>
            </a:r>
            <a:r>
              <a:rPr lang="en-US" sz="2000" dirty="0">
                <a:latin typeface="Century Gothic"/>
              </a:rPr>
              <a:t>, which help on configuring </a:t>
            </a:r>
            <a:r>
              <a:rPr lang="en-US" sz="2000" i="1" dirty="0">
                <a:latin typeface="Century Gothic"/>
              </a:rPr>
              <a:t>CORS</a:t>
            </a:r>
            <a:r>
              <a:rPr lang="en-US" sz="2000" dirty="0">
                <a:latin typeface="Century Gothic"/>
              </a:rPr>
              <a:t> for your server, and </a:t>
            </a:r>
            <a:r>
              <a:rPr lang="en-US" sz="2000" i="1" dirty="0">
                <a:latin typeface="Century Gothic"/>
              </a:rPr>
              <a:t>host-validation</a:t>
            </a:r>
            <a:r>
              <a:rPr lang="en-US" sz="2000" dirty="0">
                <a:latin typeface="Century Gothic"/>
              </a:rPr>
              <a:t>, which helps address </a:t>
            </a:r>
            <a:r>
              <a:rPr lang="en-US" sz="2000" i="1" dirty="0">
                <a:latin typeface="Century Gothic"/>
              </a:rPr>
              <a:t>DNS Rebinding</a:t>
            </a:r>
            <a:r>
              <a:rPr lang="en-US" sz="2000" dirty="0">
                <a:latin typeface="Century Gothic"/>
              </a:rPr>
              <a:t> if you’re not using </a:t>
            </a:r>
            <a:r>
              <a:rPr lang="en-US" sz="2000" i="1" dirty="0">
                <a:latin typeface="Century Gothic"/>
              </a:rPr>
              <a:t>https</a:t>
            </a:r>
            <a:r>
              <a:rPr lang="en-US" sz="2000" dirty="0">
                <a:latin typeface="Century Gothic"/>
              </a:rPr>
              <a:t> on your server.</a:t>
            </a:r>
          </a:p>
        </p:txBody>
      </p:sp>
    </p:spTree>
    <p:extLst>
      <p:ext uri="{BB962C8B-B14F-4D97-AF65-F5344CB8AC3E}">
        <p14:creationId xmlns:p14="http://schemas.microsoft.com/office/powerpoint/2010/main" val="305980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460638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Service start-up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Handler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Managing requests / response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Handling static file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Security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* Request forwarding</a:t>
            </a:r>
            <a:endParaRPr lang="en-US" sz="32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2270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Request forwarding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i="1" dirty="0">
                <a:latin typeface="Century Gothic"/>
              </a:rPr>
              <a:t>express’ </a:t>
            </a:r>
            <a:r>
              <a:rPr lang="en-US" sz="2000" dirty="0">
                <a:latin typeface="Century Gothic"/>
              </a:rPr>
              <a:t>request and response objects can be handled as </a:t>
            </a:r>
            <a:r>
              <a:rPr lang="en-US" sz="2000" i="1" dirty="0">
                <a:latin typeface="Century Gothic"/>
              </a:rPr>
              <a:t>NodeJS streams</a:t>
            </a:r>
            <a:r>
              <a:rPr lang="en-US" sz="2000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Using </a:t>
            </a:r>
            <a:r>
              <a:rPr lang="en-US" sz="2000" i="1" dirty="0">
                <a:latin typeface="Century Gothic"/>
              </a:rPr>
              <a:t>streams</a:t>
            </a:r>
            <a:r>
              <a:rPr lang="en-US" sz="2000" dirty="0">
                <a:latin typeface="Century Gothic"/>
              </a:rPr>
              <a:t> is a great tool to implement file downloads/uploads, given that the </a:t>
            </a:r>
            <a:r>
              <a:rPr lang="en-US" sz="2000" i="1" dirty="0">
                <a:latin typeface="Century Gothic"/>
              </a:rPr>
              <a:t>NodeJS fs</a:t>
            </a:r>
            <a:r>
              <a:rPr lang="en-US" sz="2000" dirty="0">
                <a:latin typeface="Century Gothic"/>
              </a:rPr>
              <a:t> module supports reading/writing files as </a:t>
            </a:r>
            <a:r>
              <a:rPr lang="en-US" sz="2000" i="1" dirty="0">
                <a:latin typeface="Century Gothic"/>
              </a:rPr>
              <a:t>streams</a:t>
            </a:r>
            <a:r>
              <a:rPr lang="en-US" sz="2000" dirty="0">
                <a:latin typeface="Century Gothic"/>
              </a:rPr>
              <a:t> it becomes as easy as piping the input/output streams into the request/response.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8DF963C3-C47D-2842-8E5C-55F5B85A4262}"/>
              </a:ext>
            </a:extLst>
          </p:cNvPr>
          <p:cNvSpPr/>
          <p:nvPr/>
        </p:nvSpPr>
        <p:spPr>
          <a:xfrm>
            <a:off x="3677842" y="3441192"/>
            <a:ext cx="4951440" cy="272759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‘use strict’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const fs = require(‘fs’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const fileDownload = (req, res) =&gt; {</a:t>
            </a:r>
          </a:p>
          <a:p>
            <a:r>
              <a:rPr lang="en-US" sz="1200" dirty="0">
                <a:latin typeface="Consolas"/>
                <a:cs typeface="Calibri"/>
              </a:rPr>
              <a:t>  const filename = req.query.filename;</a:t>
            </a:r>
          </a:p>
          <a:p>
            <a:r>
              <a:rPr lang="en-US" sz="1200" dirty="0">
                <a:latin typeface="Consolas"/>
                <a:cs typeface="Calibri"/>
              </a:rPr>
              <a:t>  // Create a read stream on the file to download</a:t>
            </a:r>
          </a:p>
          <a:p>
            <a:r>
              <a:rPr lang="en-US" sz="1200" dirty="0">
                <a:latin typeface="Consolas"/>
                <a:cs typeface="Calibri"/>
              </a:rPr>
              <a:t>  const filePath = path.join(__dirname, filename);</a:t>
            </a:r>
          </a:p>
          <a:p>
            <a:r>
              <a:rPr lang="en-US" sz="1200" dirty="0">
                <a:latin typeface="Consolas"/>
                <a:cs typeface="Calibri"/>
              </a:rPr>
              <a:t>  const readStream = fs.createReadStream(filePath);</a:t>
            </a:r>
          </a:p>
          <a:p>
            <a:r>
              <a:rPr lang="en-US" sz="1200" dirty="0">
                <a:latin typeface="Consolas"/>
                <a:cs typeface="Calibri"/>
              </a:rPr>
              <a:t>  // Pipe the read stream into the response</a:t>
            </a:r>
          </a:p>
          <a:p>
            <a:r>
              <a:rPr lang="en-US" sz="1200" dirty="0">
                <a:latin typeface="Consolas"/>
                <a:cs typeface="Calibri"/>
              </a:rPr>
              <a:t>  readStream.pipe(res);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254365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Request forwarding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5747657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You can also easily implement a simple </a:t>
            </a:r>
            <a:r>
              <a:rPr lang="en-US" sz="2000" i="1" dirty="0">
                <a:latin typeface="Century Gothic"/>
              </a:rPr>
              <a:t>reverse-proxy</a:t>
            </a:r>
            <a:r>
              <a:rPr lang="en-US" sz="2000" dirty="0">
                <a:latin typeface="Century Gothic"/>
              </a:rPr>
              <a:t> by chain-piping the streams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Basically, we chain the original request into a new request pointed to the target location and then pipe the received response into the original response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Note</a:t>
            </a:r>
            <a:r>
              <a:rPr lang="en-US" sz="2000" dirty="0">
                <a:latin typeface="Century Gothic"/>
              </a:rPr>
              <a:t>: while these are out of the exam scope, I consider it important that a good </a:t>
            </a:r>
            <a:r>
              <a:rPr lang="en-US" sz="2000" i="1" dirty="0">
                <a:latin typeface="Century Gothic"/>
              </a:rPr>
              <a:t>NodeJS</a:t>
            </a:r>
            <a:r>
              <a:rPr lang="en-US" sz="2000" dirty="0">
                <a:latin typeface="Century Gothic"/>
              </a:rPr>
              <a:t> services developer is aware of these tools and when he can put them to use.</a:t>
            </a:r>
            <a:endParaRPr lang="en-US" sz="2000" b="1" dirty="0">
              <a:latin typeface="Century Gothic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967848A-DFE2-A04F-8A5F-A6F4D52EE970}"/>
              </a:ext>
            </a:extLst>
          </p:cNvPr>
          <p:cNvSpPr/>
          <p:nvPr/>
        </p:nvSpPr>
        <p:spPr>
          <a:xfrm>
            <a:off x="6393764" y="1190817"/>
            <a:ext cx="5449893" cy="521292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</a:rPr>
              <a:t>‘use strict’</a:t>
            </a:r>
          </a:p>
          <a:p>
            <a:endParaRPr lang="en-US" sz="1200" dirty="0">
              <a:latin typeface="Consolas"/>
            </a:endParaRPr>
          </a:p>
          <a:p>
            <a:r>
              <a:rPr lang="en-US" sz="1200" dirty="0">
                <a:latin typeface="Consolas"/>
              </a:rPr>
              <a:t>const http = require(‘http’);</a:t>
            </a:r>
          </a:p>
          <a:p>
            <a:endParaRPr lang="en-US" sz="1200" dirty="0">
              <a:latin typeface="Consolas"/>
            </a:endParaRPr>
          </a:p>
          <a:p>
            <a:r>
              <a:rPr lang="en-US" sz="1200" dirty="0">
                <a:latin typeface="Consolas"/>
              </a:rPr>
              <a:t>const </a:t>
            </a:r>
            <a:r>
              <a:rPr lang="en-US" sz="1200" dirty="0" err="1">
                <a:latin typeface="Consolas"/>
              </a:rPr>
              <a:t>forwardHandler</a:t>
            </a:r>
            <a:r>
              <a:rPr lang="en-US" sz="1200" dirty="0">
                <a:latin typeface="Consolas"/>
              </a:rPr>
              <a:t> = (req, res) =&gt; {</a:t>
            </a:r>
          </a:p>
          <a:p>
            <a:r>
              <a:rPr lang="en-US" sz="1200" dirty="0">
                <a:latin typeface="Consolas"/>
              </a:rPr>
              <a:t>  // Configure the forwarded request</a:t>
            </a:r>
          </a:p>
          <a:p>
            <a:r>
              <a:rPr lang="en-US" sz="1200" dirty="0">
                <a:latin typeface="Consolas"/>
              </a:rPr>
              <a:t>  const reqOpts = {</a:t>
            </a:r>
          </a:p>
          <a:p>
            <a:r>
              <a:rPr lang="en-US" sz="1200" dirty="0">
                <a:latin typeface="Consolas"/>
              </a:rPr>
              <a:t>    headers: req.headers,</a:t>
            </a:r>
          </a:p>
          <a:p>
            <a:r>
              <a:rPr lang="en-US" sz="1200" dirty="0">
                <a:latin typeface="Consolas"/>
              </a:rPr>
              <a:t>    hostname: ‘http://</a:t>
            </a:r>
            <a:r>
              <a:rPr lang="en-US" sz="1200" dirty="0" err="1">
                <a:latin typeface="Consolas"/>
              </a:rPr>
              <a:t>www.google.com</a:t>
            </a:r>
            <a:r>
              <a:rPr lang="en-US" sz="1200" dirty="0">
                <a:latin typeface="Consolas"/>
              </a:rPr>
              <a:t>’,</a:t>
            </a:r>
          </a:p>
          <a:p>
            <a:r>
              <a:rPr lang="en-US" sz="1200" dirty="0">
                <a:latin typeface="Consolas"/>
              </a:rPr>
              <a:t>    method: req.method,</a:t>
            </a:r>
          </a:p>
          <a:p>
            <a:r>
              <a:rPr lang="en-US" sz="1200" dirty="0">
                <a:latin typeface="Consolas"/>
              </a:rPr>
              <a:t>    path: ‘/’,</a:t>
            </a:r>
          </a:p>
          <a:p>
            <a:r>
              <a:rPr lang="en-US" sz="1200" dirty="0">
                <a:latin typeface="Consolas"/>
              </a:rPr>
              <a:t>    port: 80,</a:t>
            </a:r>
          </a:p>
          <a:p>
            <a:r>
              <a:rPr lang="en-US" sz="1200" dirty="0">
                <a:latin typeface="Consolas"/>
              </a:rPr>
              <a:t>    protocol: ‘http’</a:t>
            </a:r>
          </a:p>
          <a:p>
            <a:r>
              <a:rPr lang="en-US" sz="1200" dirty="0">
                <a:latin typeface="Consolas"/>
              </a:rPr>
              <a:t>  };</a:t>
            </a:r>
          </a:p>
          <a:p>
            <a:endParaRPr lang="en-US" sz="1200" dirty="0">
              <a:latin typeface="Consolas"/>
            </a:endParaRPr>
          </a:p>
          <a:p>
            <a:r>
              <a:rPr lang="en-US" sz="1200" dirty="0">
                <a:latin typeface="Consolas"/>
              </a:rPr>
              <a:t>  // The connector request will propagate the body</a:t>
            </a:r>
          </a:p>
          <a:p>
            <a:r>
              <a:rPr lang="en-US" sz="1200" dirty="0">
                <a:latin typeface="Consolas"/>
              </a:rPr>
              <a:t>  // headers and query params to the target site</a:t>
            </a:r>
          </a:p>
          <a:p>
            <a:r>
              <a:rPr lang="en-US" sz="1200" dirty="0">
                <a:latin typeface="Consolas"/>
              </a:rPr>
              <a:t>  // On completion, it will forward the response to</a:t>
            </a:r>
          </a:p>
          <a:p>
            <a:r>
              <a:rPr lang="en-US" sz="1200" dirty="0">
                <a:latin typeface="Consolas"/>
              </a:rPr>
              <a:t>  // the original response.</a:t>
            </a:r>
          </a:p>
          <a:p>
            <a:r>
              <a:rPr lang="en-US" sz="1200" dirty="0">
                <a:latin typeface="Consolas"/>
              </a:rPr>
              <a:t>  const connector = http.request(reqOpts, (response) =&gt; {</a:t>
            </a:r>
          </a:p>
          <a:p>
            <a:r>
              <a:rPr lang="en-US" sz="1200" dirty="0">
                <a:latin typeface="Consolas"/>
              </a:rPr>
              <a:t>    response.writeHead(res.statusCode, res.headers);</a:t>
            </a:r>
          </a:p>
          <a:p>
            <a:r>
              <a:rPr lang="en-US" sz="1200" dirty="0">
                <a:latin typeface="Consolas"/>
              </a:rPr>
              <a:t>    response.pipe(res).on(‘error’, console.error);</a:t>
            </a:r>
          </a:p>
          <a:p>
            <a:r>
              <a:rPr lang="en-US" sz="1200" dirty="0">
                <a:latin typeface="Consolas"/>
              </a:rPr>
              <a:t>  });</a:t>
            </a:r>
          </a:p>
          <a:p>
            <a:endParaRPr lang="en-US" sz="1200" dirty="0">
              <a:latin typeface="Consolas"/>
            </a:endParaRPr>
          </a:p>
          <a:p>
            <a:r>
              <a:rPr lang="en-US" sz="1200" dirty="0">
                <a:latin typeface="Consolas"/>
              </a:rPr>
              <a:t>  // Pipe the original request into the connector</a:t>
            </a:r>
          </a:p>
          <a:p>
            <a:r>
              <a:rPr lang="en-US" sz="1200" dirty="0">
                <a:latin typeface="Consolas"/>
                <a:cs typeface="Calibri"/>
              </a:rPr>
              <a:t>  req.pipe(connector).on(‘error’, console.error);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821391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460638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Service start-up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Handler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Managing requests / response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Handling static file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Security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* Request forwarding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40134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spc="150">
                <a:solidFill>
                  <a:schemeClr val="bg1"/>
                </a:solidFill>
                <a:latin typeface="Century Gothic" panose="020B0502020202020204" pitchFamily="34" charset="0"/>
                <a:ea typeface="Helvetica Neue Thin" charset="0"/>
                <a:cs typeface="Helvetica Neue Thin" charset="0"/>
              </a:rPr>
              <a:t>Q&amp;A</a:t>
            </a: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916" name="Picture 4" descr="Resultado de imagen de QUESTIONS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914" y="983269"/>
            <a:ext cx="12218871" cy="5874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029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2"/>
          <a:srcRect r="8170" b="7848"/>
          <a:stretch/>
        </p:blipFill>
        <p:spPr>
          <a:xfrm>
            <a:off x="0" y="-88417"/>
            <a:ext cx="12300155" cy="6943023"/>
          </a:xfrm>
          <a:prstGeom prst="rect">
            <a:avLst/>
          </a:prstGeom>
          <a:effectLst>
            <a:glow rad="127000">
              <a:schemeClr val="accent1">
                <a:alpha val="51000"/>
              </a:schemeClr>
            </a:glow>
          </a:effectLst>
        </p:spPr>
      </p:pic>
      <p:sp>
        <p:nvSpPr>
          <p:cNvPr id="27" name="16 Rectángulo"/>
          <p:cNvSpPr/>
          <p:nvPr/>
        </p:nvSpPr>
        <p:spPr>
          <a:xfrm>
            <a:off x="1" y="-27384"/>
            <a:ext cx="122979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723900" y="828152"/>
            <a:ext cx="4947775" cy="3134297"/>
            <a:chOff x="1792374" y="1998274"/>
            <a:chExt cx="4947775" cy="3134297"/>
          </a:xfrm>
        </p:grpSpPr>
        <p:sp>
          <p:nvSpPr>
            <p:cNvPr id="3" name="2 Rectángulo"/>
            <p:cNvSpPr/>
            <p:nvPr/>
          </p:nvSpPr>
          <p:spPr>
            <a:xfrm>
              <a:off x="1792374" y="1998274"/>
              <a:ext cx="4947775" cy="3013493"/>
            </a:xfrm>
            <a:prstGeom prst="rect">
              <a:avLst/>
            </a:prstGeom>
          </p:spPr>
          <p:txBody>
            <a:bodyPr lIns="38330" tIns="19165" rIns="38330" bIns="19165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Argentina</a:t>
              </a:r>
            </a:p>
            <a:p>
              <a:pPr>
                <a:lnSpc>
                  <a:spcPct val="150000"/>
                </a:lnSpc>
              </a:pP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Belgium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Brazil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Chile</a:t>
              </a: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Colombia</a:t>
              </a: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France</a:t>
              </a:r>
            </a:p>
            <a:p>
              <a:pPr>
                <a:lnSpc>
                  <a:spcPct val="150000"/>
                </a:lnSpc>
              </a:pPr>
              <a:r>
                <a:rPr lang="es-ES" sz="2097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España</a:t>
              </a:r>
            </a:p>
            <a:p>
              <a:pPr>
                <a:lnSpc>
                  <a:spcPct val="150000"/>
                </a:lnSpc>
              </a:pP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Italy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Mexico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Perú</a:t>
              </a: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Portugal</a:t>
              </a:r>
            </a:p>
            <a:p>
              <a:pPr>
                <a:lnSpc>
                  <a:spcPct val="150000"/>
                </a:lnSpc>
              </a:pP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United</a:t>
              </a: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 </a:t>
              </a: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Kingdom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USA</a:t>
              </a:r>
            </a:p>
          </p:txBody>
        </p:sp>
        <p:sp>
          <p:nvSpPr>
            <p:cNvPr id="4" name="3 Rectángulo"/>
            <p:cNvSpPr/>
            <p:nvPr/>
          </p:nvSpPr>
          <p:spPr>
            <a:xfrm>
              <a:off x="3444979" y="3317206"/>
              <a:ext cx="2028636" cy="1514621"/>
            </a:xfrm>
            <a:prstGeom prst="rect">
              <a:avLst/>
            </a:prstGeom>
          </p:spPr>
          <p:txBody>
            <a:bodyPr wrap="square" lIns="38330" tIns="19165" rIns="38330" bIns="19165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ES" sz="1398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Barcelona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9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Avda. Diagonal, 605 4a planta </a:t>
              </a:r>
            </a:p>
            <a:p>
              <a:pPr>
                <a:lnSpc>
                  <a:spcPct val="150000"/>
                </a:lnSpc>
              </a:pPr>
              <a:r>
                <a:rPr lang="es-ES" sz="9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08028 Barcelona</a:t>
              </a:r>
            </a:p>
            <a:p>
              <a:pPr>
                <a:lnSpc>
                  <a:spcPct val="150000"/>
                </a:lnSpc>
              </a:pPr>
              <a:r>
                <a:rPr lang="es-ES" sz="9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Tel.: 34 93 494 77 00</a:t>
              </a:r>
            </a:p>
            <a:p>
              <a:pPr>
                <a:lnSpc>
                  <a:spcPct val="150000"/>
                </a:lnSpc>
              </a:pPr>
              <a:r>
                <a:rPr lang="es-ES" sz="9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Mov</a:t>
              </a:r>
              <a:r>
                <a:rPr lang="es-ES" sz="9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: 34 692 288 378</a:t>
              </a:r>
            </a:p>
            <a:p>
              <a:pPr>
                <a:lnSpc>
                  <a:spcPct val="150000"/>
                </a:lnSpc>
              </a:pPr>
              <a:r>
                <a:rPr lang="es-ES" sz="9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www.everis.com</a:t>
              </a:r>
            </a:p>
          </p:txBody>
        </p:sp>
        <p:cxnSp>
          <p:nvCxnSpPr>
            <p:cNvPr id="15" name="14 Conector recto"/>
            <p:cNvCxnSpPr/>
            <p:nvPr/>
          </p:nvCxnSpPr>
          <p:spPr>
            <a:xfrm flipH="1">
              <a:off x="1832029" y="5132571"/>
              <a:ext cx="3760414" cy="0"/>
            </a:xfrm>
            <a:prstGeom prst="lin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0" name="9 Conector recto"/>
            <p:cNvCxnSpPr/>
            <p:nvPr/>
          </p:nvCxnSpPr>
          <p:spPr>
            <a:xfrm>
              <a:off x="2858849" y="3500928"/>
              <a:ext cx="540000" cy="0"/>
            </a:xfrm>
            <a:prstGeom prst="lin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428858" y="4117875"/>
            <a:ext cx="719284" cy="2624699"/>
          </a:xfrm>
          <a:prstGeom prst="rect">
            <a:avLst/>
          </a:prstGeom>
        </p:spPr>
      </p:pic>
      <p:grpSp>
        <p:nvGrpSpPr>
          <p:cNvPr id="21" name="Grupo 20"/>
          <p:cNvGrpSpPr/>
          <p:nvPr/>
        </p:nvGrpSpPr>
        <p:grpSpPr>
          <a:xfrm>
            <a:off x="8115961" y="2180790"/>
            <a:ext cx="1618527" cy="1098285"/>
            <a:chOff x="10261455" y="2506524"/>
            <a:chExt cx="4222312" cy="2787337"/>
          </a:xfrm>
        </p:grpSpPr>
        <p:grpSp>
          <p:nvGrpSpPr>
            <p:cNvPr id="22" name="Grupo 21"/>
            <p:cNvGrpSpPr/>
            <p:nvPr/>
          </p:nvGrpSpPr>
          <p:grpSpPr>
            <a:xfrm>
              <a:off x="10261455" y="3546887"/>
              <a:ext cx="4222312" cy="1746974"/>
              <a:chOff x="3775011" y="1773238"/>
              <a:chExt cx="2110912" cy="873386"/>
            </a:xfrm>
          </p:grpSpPr>
          <p:sp>
            <p:nvSpPr>
              <p:cNvPr id="24" name="Shape 339"/>
              <p:cNvSpPr/>
              <p:nvPr/>
            </p:nvSpPr>
            <p:spPr>
              <a:xfrm>
                <a:off x="3775011" y="2646624"/>
                <a:ext cx="2110912" cy="0"/>
              </a:xfrm>
              <a:prstGeom prst="line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</a:ln>
            </p:spPr>
            <p:txBody>
              <a:bodyPr lIns="45674" rIns="45674"/>
              <a:lstStyle/>
              <a:p>
                <a:endParaRPr lang="en-GB" sz="3596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endParaRPr>
              </a:p>
            </p:txBody>
          </p:sp>
          <p:sp>
            <p:nvSpPr>
              <p:cNvPr id="25" name="Shape 442"/>
              <p:cNvSpPr/>
              <p:nvPr/>
            </p:nvSpPr>
            <p:spPr>
              <a:xfrm>
                <a:off x="4700718" y="1773238"/>
                <a:ext cx="92396" cy="769499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45674" rIns="45674">
                <a:spAutoFit/>
              </a:bodyPr>
              <a:lstStyle>
                <a:lvl1pPr defTabSz="457200">
                  <a:lnSpc>
                    <a:spcPct val="110000"/>
                  </a:lnSpc>
                  <a:defRPr sz="1600" b="1">
                    <a:solidFill>
                      <a:srgbClr val="7B234B"/>
                    </a:solidFill>
                    <a:latin typeface="Open Sans"/>
                    <a:ea typeface="Open Sans"/>
                    <a:cs typeface="Open Sans"/>
                    <a:sym typeface="Open Sans"/>
                  </a:defRPr>
                </a:lvl1pPr>
              </a:lstStyle>
              <a:p>
                <a:pPr algn="ctr"/>
                <a:endParaRPr lang="en-GB" sz="3996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23" name="Picture 5" descr="\\usersad.everis.int\enterprise_files\Spain\Madrid\Proyectos\Customer Experience\1.Cosas Diseño\11 - Logos everis NTT DATA\eve+ntt_logo_invertido-blanco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84402" y="2506524"/>
              <a:ext cx="3976420" cy="221543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4633057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Introduction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400" b="1" dirty="0">
                <a:latin typeface="Century Gothic"/>
              </a:rPr>
              <a:t>JSNDS, express and frameworks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For the </a:t>
            </a:r>
            <a:r>
              <a:rPr lang="en-US" sz="2000" i="1" dirty="0">
                <a:latin typeface="Century Gothic"/>
              </a:rPr>
              <a:t>JSNDS certification </a:t>
            </a:r>
            <a:r>
              <a:rPr lang="en-US" sz="2000" dirty="0">
                <a:latin typeface="Century Gothic"/>
              </a:rPr>
              <a:t>you will be asked to develop features for REST API services.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While you can use the native </a:t>
            </a:r>
            <a:r>
              <a:rPr lang="en-US" sz="2000" i="1" dirty="0">
                <a:latin typeface="Century Gothic"/>
              </a:rPr>
              <a:t>http</a:t>
            </a:r>
            <a:r>
              <a:rPr lang="en-US" sz="2000" dirty="0">
                <a:latin typeface="Century Gothic"/>
              </a:rPr>
              <a:t>/</a:t>
            </a:r>
            <a:r>
              <a:rPr lang="en-US" sz="2000" i="1" dirty="0">
                <a:latin typeface="Century Gothic"/>
              </a:rPr>
              <a:t>https NodeJS</a:t>
            </a:r>
            <a:r>
              <a:rPr lang="en-US" sz="2000" dirty="0">
                <a:latin typeface="Century Gothic"/>
              </a:rPr>
              <a:t> modules, since you can use any framework / tool available on </a:t>
            </a:r>
            <a:r>
              <a:rPr lang="en-US" sz="2000" i="1" dirty="0">
                <a:latin typeface="Century Gothic"/>
              </a:rPr>
              <a:t>npm</a:t>
            </a:r>
            <a:r>
              <a:rPr lang="en-US" sz="2000" dirty="0">
                <a:latin typeface="Century Gothic"/>
              </a:rPr>
              <a:t>, it is highly recommended to use one of the well-known REST API frameworks to make things much easier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This course will focus on </a:t>
            </a:r>
            <a:r>
              <a:rPr lang="en-US" sz="2000" b="1" i="1" dirty="0">
                <a:latin typeface="Century Gothic"/>
              </a:rPr>
              <a:t>express</a:t>
            </a:r>
            <a:r>
              <a:rPr lang="en-US" sz="2000" b="1" dirty="0">
                <a:latin typeface="Century Gothic"/>
              </a:rPr>
              <a:t> </a:t>
            </a:r>
            <a:r>
              <a:rPr lang="en-US" sz="2000" dirty="0">
                <a:latin typeface="Century Gothic"/>
              </a:rPr>
              <a:t>and its features, as it is the most extended framework in the market; however, if you have previous expertise on any other framework, you can resort to that during the exam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While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also features </a:t>
            </a:r>
            <a:r>
              <a:rPr lang="en-US" sz="2000" i="1" dirty="0">
                <a:latin typeface="Century Gothic"/>
              </a:rPr>
              <a:t>server-side rendering</a:t>
            </a:r>
            <a:r>
              <a:rPr lang="en-US" sz="2000" dirty="0">
                <a:latin typeface="Century Gothic"/>
              </a:rPr>
              <a:t>, this course won’t be delving into that feature as the exam focuses mostly on the backend side of things and commercially wise SPAs are generally the technology of choice over </a:t>
            </a:r>
            <a:r>
              <a:rPr lang="en-US" sz="2000" i="1" dirty="0">
                <a:latin typeface="Century Gothic"/>
              </a:rPr>
              <a:t>server-side rendering</a:t>
            </a:r>
            <a:r>
              <a:rPr lang="en-US" sz="2000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66663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460638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Service start-up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Handler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Managing requests / response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Handling static file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Security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* Request forwarding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1902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Service start-up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4" y="1193523"/>
            <a:ext cx="6577200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As a services framework,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manages the application runtime core and exposes the requested ports so that endpoints may be correctly exposed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Starting an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application is very simple and it only involves specifying the port the service will run at.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Additionally, it is possible to add error handlers that will be triggered in case anything goes wrong during the application start-up; this can come in handy to debug possible issues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Modules such as </a:t>
            </a:r>
            <a:r>
              <a:rPr lang="en-US" sz="2000" i="1" dirty="0">
                <a:latin typeface="Century Gothic"/>
              </a:rPr>
              <a:t>nodemon</a:t>
            </a:r>
            <a:r>
              <a:rPr lang="en-US" sz="2000" dirty="0">
                <a:latin typeface="Century Gothic"/>
              </a:rPr>
              <a:t> will help during development by restarting the server whenever code changes are detected.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3DFDCF9C-71B3-2C4F-A49F-36DA85605899}"/>
              </a:ext>
            </a:extLst>
          </p:cNvPr>
          <p:cNvSpPr/>
          <p:nvPr/>
        </p:nvSpPr>
        <p:spPr>
          <a:xfrm>
            <a:off x="7016368" y="1196103"/>
            <a:ext cx="4896592" cy="504875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</a:rPr>
              <a:t>‘use strict’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Import the express module</a:t>
            </a:r>
          </a:p>
          <a:p>
            <a:r>
              <a:rPr lang="en-US" sz="1200" dirty="0">
                <a:latin typeface="Consolas"/>
                <a:cs typeface="Calibri"/>
              </a:rPr>
              <a:t>const express = require(‘express’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Allocate an express application</a:t>
            </a:r>
          </a:p>
          <a:p>
            <a:r>
              <a:rPr lang="en-US" sz="1200" dirty="0">
                <a:latin typeface="Consolas"/>
                <a:cs typeface="Calibri"/>
              </a:rPr>
              <a:t>const app = express();</a:t>
            </a:r>
          </a:p>
          <a:p>
            <a:r>
              <a:rPr lang="en-US" sz="1200" dirty="0">
                <a:latin typeface="Consolas"/>
                <a:cs typeface="Calibri"/>
              </a:rPr>
              <a:t>const port = 3000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Default handler</a:t>
            </a:r>
          </a:p>
          <a:p>
            <a:r>
              <a:rPr lang="en-US" sz="1200" dirty="0" err="1">
                <a:latin typeface="Consolas"/>
                <a:cs typeface="Calibri"/>
              </a:rPr>
              <a:t>app.all</a:t>
            </a:r>
            <a:r>
              <a:rPr lang="en-US" sz="1200" dirty="0">
                <a:latin typeface="Consolas"/>
                <a:cs typeface="Calibri"/>
              </a:rPr>
              <a:t>(‘*’, (req, res) =&gt; {</a:t>
            </a:r>
          </a:p>
          <a:p>
            <a:r>
              <a:rPr lang="en-US" sz="1200" dirty="0">
                <a:latin typeface="Consolas"/>
                <a:cs typeface="Calibri"/>
              </a:rPr>
              <a:t>  res.sendStatus(200);</a:t>
            </a:r>
          </a:p>
          <a:p>
            <a:r>
              <a:rPr lang="en-US" sz="1200" dirty="0">
                <a:latin typeface="Consolas"/>
                <a:cs typeface="Calibri"/>
              </a:rPr>
              <a:t>}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Configure exposed port and start listening</a:t>
            </a:r>
          </a:p>
          <a:p>
            <a:r>
              <a:rPr lang="en-US" sz="1200" dirty="0" err="1">
                <a:latin typeface="Consolas"/>
                <a:cs typeface="Calibri"/>
              </a:rPr>
              <a:t>app.listen</a:t>
            </a:r>
            <a:r>
              <a:rPr lang="en-US" sz="1200" dirty="0">
                <a:latin typeface="Consolas"/>
                <a:cs typeface="Calibri"/>
              </a:rPr>
              <a:t>(port, () =&gt; {</a:t>
            </a:r>
          </a:p>
          <a:p>
            <a:r>
              <a:rPr lang="en-US" sz="1200" dirty="0">
                <a:latin typeface="Consolas"/>
                <a:cs typeface="Calibri"/>
              </a:rPr>
              <a:t>  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`Application listening on ${port}`);</a:t>
            </a:r>
          </a:p>
          <a:p>
            <a:r>
              <a:rPr lang="en-US" sz="1200" dirty="0">
                <a:latin typeface="Consolas"/>
                <a:cs typeface="Calibri"/>
              </a:rPr>
              <a:t>}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Configure error handler</a:t>
            </a:r>
          </a:p>
          <a:p>
            <a:r>
              <a:rPr lang="en-US" sz="1200" dirty="0" err="1">
                <a:latin typeface="Consolas"/>
                <a:cs typeface="Calibri"/>
              </a:rPr>
              <a:t>app.on</a:t>
            </a:r>
            <a:r>
              <a:rPr lang="en-US" sz="1200" dirty="0">
                <a:latin typeface="Consolas"/>
                <a:cs typeface="Calibri"/>
              </a:rPr>
              <a:t>(‘error’, (err) =&gt; {</a:t>
            </a:r>
          </a:p>
          <a:p>
            <a:r>
              <a:rPr lang="en-US" sz="1200" dirty="0">
                <a:latin typeface="Consolas"/>
                <a:cs typeface="Calibri"/>
              </a:rPr>
              <a:t>  </a:t>
            </a:r>
            <a:r>
              <a:rPr lang="en-US" sz="1200" dirty="0" err="1">
                <a:latin typeface="Consolas"/>
                <a:cs typeface="Calibri"/>
              </a:rPr>
              <a:t>console.error</a:t>
            </a:r>
            <a:r>
              <a:rPr lang="en-US" sz="1200" dirty="0">
                <a:latin typeface="Consolas"/>
                <a:cs typeface="Calibri"/>
              </a:rPr>
              <a:t>(`Application unable to start on port ${port}`, err);</a:t>
            </a:r>
          </a:p>
          <a:p>
            <a:r>
              <a:rPr lang="en-US" sz="1200" dirty="0">
                <a:latin typeface="Consolas"/>
                <a:cs typeface="Calibri"/>
              </a:rPr>
              <a:t>});</a:t>
            </a:r>
          </a:p>
        </p:txBody>
      </p:sp>
    </p:spTree>
    <p:extLst>
      <p:ext uri="{BB962C8B-B14F-4D97-AF65-F5344CB8AC3E}">
        <p14:creationId xmlns:p14="http://schemas.microsoft.com/office/powerpoint/2010/main" val="1582760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Service start-up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23">
            <a:extLst>
              <a:ext uri="{FF2B5EF4-FFF2-40B4-BE49-F238E27FC236}">
                <a16:creationId xmlns:a16="http://schemas.microsoft.com/office/drawing/2014/main" id="{6CBD4B3D-78A9-46CF-B7B8-8C171B3F1943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Exercises</a:t>
            </a:r>
            <a:endParaRPr lang="es-ES" i="1" dirty="0"/>
          </a:p>
        </p:txBody>
      </p:sp>
      <p:pic>
        <p:nvPicPr>
          <p:cNvPr id="15" name="Picture 2" descr="Hands-On Training">
            <a:extLst>
              <a:ext uri="{FF2B5EF4-FFF2-40B4-BE49-F238E27FC236}">
                <a16:creationId xmlns:a16="http://schemas.microsoft.com/office/drawing/2014/main" id="{DF4EF015-7992-4859-AC70-FEBECA67C1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922"/>
          <a:stretch/>
        </p:blipFill>
        <p:spPr bwMode="auto">
          <a:xfrm>
            <a:off x="1021624" y="2522066"/>
            <a:ext cx="2716530" cy="2812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3">
            <a:extLst>
              <a:ext uri="{FF2B5EF4-FFF2-40B4-BE49-F238E27FC236}">
                <a16:creationId xmlns:a16="http://schemas.microsoft.com/office/drawing/2014/main" id="{6909A535-8C53-4A37-B3E0-FC6F7A28423E}"/>
              </a:ext>
            </a:extLst>
          </p:cNvPr>
          <p:cNvSpPr/>
          <p:nvPr/>
        </p:nvSpPr>
        <p:spPr>
          <a:xfrm>
            <a:off x="4485552" y="1980899"/>
            <a:ext cx="7081157" cy="289620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2.1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</a:rPr>
              <a:t>Start an </a:t>
            </a:r>
            <a:r>
              <a:rPr lang="en-US" sz="2400" i="1" dirty="0">
                <a:latin typeface="Century Gothic"/>
              </a:rPr>
              <a:t>express</a:t>
            </a:r>
            <a:r>
              <a:rPr lang="en-US" sz="2400" dirty="0">
                <a:latin typeface="Century Gothic"/>
              </a:rPr>
              <a:t> application on port 3300.</a:t>
            </a:r>
            <a:endParaRPr lang="en-US" sz="2400" i="1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2.2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  <a:cs typeface="Calibri" panose="020F0502020204030204"/>
              </a:rPr>
              <a:t>Add an </a:t>
            </a:r>
            <a:r>
              <a:rPr lang="en-US" sz="2400" i="1" dirty="0">
                <a:latin typeface="Century Gothic"/>
                <a:cs typeface="Calibri" panose="020F0502020204030204"/>
              </a:rPr>
              <a:t>error handler</a:t>
            </a:r>
            <a:r>
              <a:rPr lang="en-US" sz="2400" dirty="0">
                <a:latin typeface="Century Gothic"/>
                <a:cs typeface="Calibri" panose="020F0502020204030204"/>
              </a:rPr>
              <a:t> and simulate an application start-up error. Validate your handler works as expected.</a:t>
            </a:r>
          </a:p>
        </p:txBody>
      </p:sp>
    </p:spTree>
    <p:extLst>
      <p:ext uri="{BB962C8B-B14F-4D97-AF65-F5344CB8AC3E}">
        <p14:creationId xmlns:p14="http://schemas.microsoft.com/office/powerpoint/2010/main" val="19163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460638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Service start-up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Handlers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Century Gothic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Managing requests / response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Handling static file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Security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* Request forwarding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3064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Handlers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Once the server is up and running, it is time to add </a:t>
            </a:r>
            <a:r>
              <a:rPr lang="en-US" sz="2000" i="1" dirty="0">
                <a:latin typeface="Century Gothic"/>
              </a:rPr>
              <a:t>handlers </a:t>
            </a:r>
            <a:r>
              <a:rPr lang="en-US" sz="2000" dirty="0">
                <a:latin typeface="Century Gothic"/>
              </a:rPr>
              <a:t>to it. There is two types of handlers: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sz="2000" i="1" dirty="0">
                <a:latin typeface="Century Gothic"/>
              </a:rPr>
              <a:t>Request handlers</a:t>
            </a:r>
            <a:r>
              <a:rPr lang="en-US" sz="2000" dirty="0">
                <a:latin typeface="Century Gothic"/>
              </a:rPr>
              <a:t>: these </a:t>
            </a:r>
            <a:r>
              <a:rPr lang="en-US" sz="2000" i="1" dirty="0">
                <a:latin typeface="Century Gothic"/>
              </a:rPr>
              <a:t>handlers</a:t>
            </a:r>
            <a:r>
              <a:rPr lang="en-US" sz="2000" dirty="0">
                <a:latin typeface="Century Gothic"/>
              </a:rPr>
              <a:t> are bound to an HTTP verb and a URL path.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sz="2000" i="1" dirty="0">
                <a:latin typeface="Century Gothic"/>
              </a:rPr>
              <a:t>Middleware handlers</a:t>
            </a:r>
            <a:r>
              <a:rPr lang="en-US" sz="2000" dirty="0">
                <a:latin typeface="Century Gothic"/>
              </a:rPr>
              <a:t>: these handlers are executed as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handles the request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All </a:t>
            </a:r>
            <a:r>
              <a:rPr lang="en-US" sz="2000" i="1" dirty="0">
                <a:latin typeface="Century Gothic"/>
              </a:rPr>
              <a:t>handlers</a:t>
            </a:r>
            <a:r>
              <a:rPr lang="en-US" sz="2000" dirty="0">
                <a:latin typeface="Century Gothic"/>
              </a:rPr>
              <a:t> are registered on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on a </a:t>
            </a:r>
            <a:r>
              <a:rPr lang="en-US" sz="2000" i="1" dirty="0">
                <a:latin typeface="Century Gothic"/>
              </a:rPr>
              <a:t>FDFE (“First Defined-First Executed”)</a:t>
            </a:r>
            <a:r>
              <a:rPr lang="en-US" sz="2000" dirty="0">
                <a:latin typeface="Century Gothic"/>
              </a:rPr>
              <a:t> pattern.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When a new request is received,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executes everything on the stack until one of the </a:t>
            </a:r>
            <a:r>
              <a:rPr lang="en-US" sz="2000" i="1" dirty="0">
                <a:latin typeface="Century Gothic"/>
              </a:rPr>
              <a:t>middlewares</a:t>
            </a:r>
            <a:r>
              <a:rPr lang="en-US" sz="2000" dirty="0">
                <a:latin typeface="Century Gothic"/>
              </a:rPr>
              <a:t> generates a response, which is then forwarded to the client as </a:t>
            </a:r>
            <a:r>
              <a:rPr lang="en-US" sz="2000" i="1" dirty="0">
                <a:latin typeface="Century Gothic"/>
              </a:rPr>
              <a:t>response</a:t>
            </a:r>
            <a:r>
              <a:rPr lang="en-US" sz="2000" dirty="0">
                <a:latin typeface="Century Gothic"/>
              </a:rPr>
              <a:t>.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C8434B12-88CB-FE4D-9669-45498D145A01}"/>
              </a:ext>
            </a:extLst>
          </p:cNvPr>
          <p:cNvSpPr/>
          <p:nvPr/>
        </p:nvSpPr>
        <p:spPr>
          <a:xfrm>
            <a:off x="846797" y="4355172"/>
            <a:ext cx="4951440" cy="18913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</a:rPr>
              <a:t>const sampleController = (req, res) =&gt; {</a:t>
            </a:r>
          </a:p>
          <a:p>
            <a:r>
              <a:rPr lang="en-US" sz="1200" dirty="0">
                <a:latin typeface="Consolas"/>
              </a:rPr>
              <a:t>  console.log(‘Headers’, req.headers);</a:t>
            </a:r>
          </a:p>
          <a:p>
            <a:r>
              <a:rPr lang="en-US" sz="1200" dirty="0">
                <a:latin typeface="Consolas"/>
              </a:rPr>
              <a:t>  console.log(‘Path params’, req.path);</a:t>
            </a:r>
          </a:p>
          <a:p>
            <a:r>
              <a:rPr lang="en-US" sz="1200" dirty="0">
                <a:latin typeface="Consolas"/>
              </a:rPr>
              <a:t>  console.log(‘Query params’, req.query);</a:t>
            </a:r>
          </a:p>
          <a:p>
            <a:endParaRPr lang="en-US" sz="1200" dirty="0">
              <a:latin typeface="Consolas"/>
            </a:endParaRPr>
          </a:p>
          <a:p>
            <a:r>
              <a:rPr lang="en-US" sz="1200" dirty="0">
                <a:latin typeface="Consolas"/>
              </a:rPr>
              <a:t>  res.sendStatus(200);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A6E40B05-B3EF-974D-A350-0E76D49545AC}"/>
              </a:ext>
            </a:extLst>
          </p:cNvPr>
          <p:cNvSpPr/>
          <p:nvPr/>
        </p:nvSpPr>
        <p:spPr>
          <a:xfrm>
            <a:off x="6393764" y="4355172"/>
            <a:ext cx="4951440" cy="18913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</a:rPr>
              <a:t>const sampleMiddleware = (req, res, next) =&gt; {</a:t>
            </a:r>
          </a:p>
          <a:p>
            <a:r>
              <a:rPr lang="en-US" sz="1200" dirty="0">
                <a:latin typeface="Consolas"/>
              </a:rPr>
              <a:t>  console.log(‘Headers’, req.headers);</a:t>
            </a:r>
          </a:p>
          <a:p>
            <a:r>
              <a:rPr lang="en-US" sz="1200" dirty="0">
                <a:latin typeface="Consolas"/>
              </a:rPr>
              <a:t>  console.log(‘Path params’, req.path);</a:t>
            </a:r>
          </a:p>
          <a:p>
            <a:r>
              <a:rPr lang="en-US" sz="1200" dirty="0">
                <a:latin typeface="Consolas"/>
              </a:rPr>
              <a:t>  console.log(‘Query params’, req.query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  next();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</p:txBody>
      </p:sp>
    </p:spTree>
    <p:extLst>
      <p:ext uri="{BB962C8B-B14F-4D97-AF65-F5344CB8AC3E}">
        <p14:creationId xmlns:p14="http://schemas.microsoft.com/office/powerpoint/2010/main" val="305699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Handlers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It is also possible to define a </a:t>
            </a:r>
            <a:r>
              <a:rPr lang="en-US" sz="2000" i="1" dirty="0">
                <a:latin typeface="Century Gothic"/>
              </a:rPr>
              <a:t>default</a:t>
            </a:r>
            <a:r>
              <a:rPr lang="en-US" sz="2000" dirty="0">
                <a:latin typeface="Century Gothic"/>
              </a:rPr>
              <a:t> or </a:t>
            </a:r>
            <a:r>
              <a:rPr lang="en-US" sz="2000" i="1" dirty="0">
                <a:latin typeface="Century Gothic"/>
              </a:rPr>
              <a:t>fallback</a:t>
            </a:r>
            <a:r>
              <a:rPr lang="en-US" sz="2000" dirty="0">
                <a:latin typeface="Century Gothic"/>
              </a:rPr>
              <a:t> </a:t>
            </a:r>
            <a:r>
              <a:rPr lang="en-US" sz="2000" i="1" dirty="0">
                <a:latin typeface="Century Gothic"/>
              </a:rPr>
              <a:t>handler</a:t>
            </a:r>
            <a:r>
              <a:rPr lang="en-US" sz="2000" dirty="0">
                <a:latin typeface="Century Gothic"/>
              </a:rPr>
              <a:t> requests will be directed to in case the </a:t>
            </a:r>
            <a:r>
              <a:rPr lang="en-US" sz="2000" i="1" dirty="0">
                <a:latin typeface="Century Gothic"/>
              </a:rPr>
              <a:t>middleware</a:t>
            </a:r>
            <a:r>
              <a:rPr lang="en-US" sz="2000" dirty="0">
                <a:latin typeface="Century Gothic"/>
              </a:rPr>
              <a:t> </a:t>
            </a:r>
            <a:r>
              <a:rPr lang="en-US" sz="2000" i="1" dirty="0">
                <a:latin typeface="Century Gothic"/>
              </a:rPr>
              <a:t>chain</a:t>
            </a:r>
            <a:r>
              <a:rPr lang="en-US" sz="2000" dirty="0">
                <a:latin typeface="Century Gothic"/>
              </a:rPr>
              <a:t> is not completed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From a code perspective, </a:t>
            </a:r>
            <a:r>
              <a:rPr lang="en-US" sz="2000" i="1" dirty="0">
                <a:latin typeface="Century Gothic"/>
              </a:rPr>
              <a:t>request handlers</a:t>
            </a:r>
            <a:r>
              <a:rPr lang="en-US" sz="2000" dirty="0">
                <a:latin typeface="Century Gothic"/>
              </a:rPr>
              <a:t> are functions which receive two parameters: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sz="2000" dirty="0">
                <a:latin typeface="Century Gothic"/>
              </a:rPr>
              <a:t>The request object with all the request-related information including headers, query/path parameters, body/content, etc.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sz="2000" dirty="0">
                <a:latin typeface="Century Gothic"/>
              </a:rPr>
              <a:t>The response object which will provide methods to generate response status codes, headers, content, etc.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On the other hand, </a:t>
            </a:r>
            <a:r>
              <a:rPr lang="en-US" sz="2000" i="1" dirty="0">
                <a:latin typeface="Century Gothic"/>
              </a:rPr>
              <a:t>middleware handlers</a:t>
            </a:r>
            <a:r>
              <a:rPr lang="en-US" sz="2000" dirty="0">
                <a:latin typeface="Century Gothic"/>
              </a:rPr>
              <a:t> are functions which receive three parameters: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sz="2000" dirty="0">
                <a:latin typeface="Century Gothic"/>
              </a:rPr>
              <a:t>The request object as received by the </a:t>
            </a:r>
            <a:r>
              <a:rPr lang="en-US" sz="2000" i="1" dirty="0">
                <a:latin typeface="Century Gothic"/>
              </a:rPr>
              <a:t>request handler</a:t>
            </a:r>
            <a:r>
              <a:rPr lang="en-US" sz="2000" dirty="0">
                <a:latin typeface="Century Gothic"/>
              </a:rPr>
              <a:t>.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sz="2000" dirty="0">
                <a:latin typeface="Century Gothic"/>
              </a:rPr>
              <a:t>The response object as received by the </a:t>
            </a:r>
            <a:r>
              <a:rPr lang="en-US" sz="2000" i="1" dirty="0">
                <a:latin typeface="Century Gothic"/>
              </a:rPr>
              <a:t>request handler</a:t>
            </a:r>
            <a:r>
              <a:rPr lang="en-US" sz="2000" dirty="0">
                <a:latin typeface="Century Gothic"/>
              </a:rPr>
              <a:t>.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sz="2000" dirty="0">
                <a:latin typeface="Century Gothic"/>
              </a:rPr>
              <a:t>The next function which must be invoked when the execution chain is to be continued.</a:t>
            </a:r>
            <a:br>
              <a:rPr lang="en-US" sz="2000" dirty="0">
                <a:latin typeface="Century Gothic"/>
              </a:rPr>
            </a:br>
            <a:r>
              <a:rPr lang="en-US" sz="2000" dirty="0">
                <a:latin typeface="Century Gothic"/>
              </a:rPr>
              <a:t>It is important not to invoke this function in case a response is generated in a </a:t>
            </a:r>
            <a:r>
              <a:rPr lang="en-US" sz="2000" i="1" dirty="0">
                <a:latin typeface="Century Gothic"/>
              </a:rPr>
              <a:t>middleware handler </a:t>
            </a:r>
            <a:r>
              <a:rPr lang="en-US" sz="2000" dirty="0">
                <a:latin typeface="Century Gothic"/>
              </a:rPr>
              <a:t>as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is not able to generate two responses for a single request and it will cause an error.</a:t>
            </a:r>
          </a:p>
        </p:txBody>
      </p:sp>
    </p:spTree>
    <p:extLst>
      <p:ext uri="{BB962C8B-B14F-4D97-AF65-F5344CB8AC3E}">
        <p14:creationId xmlns:p14="http://schemas.microsoft.com/office/powerpoint/2010/main" val="2142130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ZcWcA9xEig.kVe72TE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FDFA0D424492F4488FD19F0313A4A8E" ma:contentTypeVersion="7" ma:contentTypeDescription="Crear nuevo documento." ma:contentTypeScope="" ma:versionID="a0796ebe79cd66ddbdc362b7ec60ade8">
  <xsd:schema xmlns:xsd="http://www.w3.org/2001/XMLSchema" xmlns:xs="http://www.w3.org/2001/XMLSchema" xmlns:p="http://schemas.microsoft.com/office/2006/metadata/properties" xmlns:ns2="70b275a6-ebc4-4329-823d-2f0b076e2e90" targetNamespace="http://schemas.microsoft.com/office/2006/metadata/properties" ma:root="true" ma:fieldsID="31de4d5ed18746f823219e0e97876651" ns2:_="">
    <xsd:import namespace="70b275a6-ebc4-4329-823d-2f0b076e2e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b275a6-ebc4-4329-823d-2f0b076e2e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C4A332F-5C68-4B4F-973F-70B56E14E6E1}"/>
</file>

<file path=customXml/itemProps2.xml><?xml version="1.0" encoding="utf-8"?>
<ds:datastoreItem xmlns:ds="http://schemas.openxmlformats.org/officeDocument/2006/customXml" ds:itemID="{6887B398-6F69-4596-B747-F4443ED8993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BE8D0B7-5162-41EA-8FFF-09AC3CCD2764}">
  <ds:schemaRefs>
    <ds:schemaRef ds:uri="3b5cbd70-4536-4d86-a81c-1376e5bb715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35</TotalTime>
  <Words>2953</Words>
  <Application>Microsoft Macintosh PowerPoint</Application>
  <PresentationFormat>Panorámica</PresentationFormat>
  <Paragraphs>458</Paragraphs>
  <Slides>29</Slides>
  <Notes>27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9</vt:i4>
      </vt:variant>
    </vt:vector>
  </HeadingPairs>
  <TitlesOfParts>
    <vt:vector size="36" baseType="lpstr">
      <vt:lpstr>Arial</vt:lpstr>
      <vt:lpstr>Calibri</vt:lpstr>
      <vt:lpstr>Calibri Light</vt:lpstr>
      <vt:lpstr>Century Gothic</vt:lpstr>
      <vt:lpstr>Consolas</vt:lpstr>
      <vt:lpstr>Tema de Offic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everis 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Sergio Paños Hernandez</dc:creator>
  <cp:lastModifiedBy>Daniel Amores Alvarez</cp:lastModifiedBy>
  <cp:revision>694</cp:revision>
  <dcterms:created xsi:type="dcterms:W3CDTF">2017-05-23T11:06:23Z</dcterms:created>
  <dcterms:modified xsi:type="dcterms:W3CDTF">2020-12-11T11:28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DFA0D424492F4488FD19F0313A4A8E</vt:lpwstr>
  </property>
  <property fmtid="{D5CDD505-2E9C-101B-9397-08002B2CF9AE}" pid="3" name="AuthorIds_UIVersion_9216">
    <vt:lpwstr>6</vt:lpwstr>
  </property>
</Properties>
</file>